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77" r:id="rId2"/>
    <p:sldMasterId id="2147483695" r:id="rId3"/>
    <p:sldMasterId id="2147483707" r:id="rId4"/>
    <p:sldMasterId id="2147483745" r:id="rId5"/>
    <p:sldMasterId id="2147483734" r:id="rId6"/>
  </p:sldMasterIdLst>
  <p:notesMasterIdLst>
    <p:notesMasterId r:id="rId11"/>
  </p:notesMasterIdLst>
  <p:handoutMasterIdLst>
    <p:handoutMasterId r:id="rId12"/>
  </p:handoutMasterIdLst>
  <p:sldIdLst>
    <p:sldId id="262" r:id="rId7"/>
    <p:sldId id="260" r:id="rId8"/>
    <p:sldId id="261" r:id="rId9"/>
    <p:sldId id="264" r:id="rId10"/>
  </p:sldIdLst>
  <p:sldSz cx="12192000" cy="6858000"/>
  <p:notesSz cx="6858000" cy="9144000"/>
  <p:custDataLst>
    <p:tags r:id="rId13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ACCD5"/>
    <a:srgbClr val="80AE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929F9F4-4A8F-4326-A1B4-22849713DDAB}" styleName="Mørkt layout 1 - Markering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FECB4D8-DB02-4DC6-A0A2-4F2EBAE1DC90}" styleName="Mellemlayout 1 - Markering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2DE63D5-997A-4646-A377-4702673A728D}" styleName="Lyst layout 2 - Markering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EB344D84-9AFB-497E-A393-DC336BA19D2E}" styleName="Mellemlayout 3 - Markering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86358"/>
  </p:normalViewPr>
  <p:slideViewPr>
    <p:cSldViewPr snapToGrid="0" snapToObjects="1">
      <p:cViewPr varScale="1">
        <p:scale>
          <a:sx n="112" d="100"/>
          <a:sy n="112" d="100"/>
        </p:scale>
        <p:origin x="552" y="7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60" d="100"/>
          <a:sy n="60" d="100"/>
        </p:scale>
        <p:origin x="3187" y="4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tags" Target="tags/tag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viewProps" Target="viewProps.xml"/><Relationship Id="rId10" Type="http://schemas.openxmlformats.org/officeDocument/2006/relationships/slide" Target="slides/slide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>
            <a:extLst>
              <a:ext uri="{FF2B5EF4-FFF2-40B4-BE49-F238E27FC236}">
                <a16:creationId xmlns:a16="http://schemas.microsoft.com/office/drawing/2014/main" id="{9E35A5F4-6EC7-8848-A031-B57FE563C16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DF135E3A-EB87-8240-8865-811B4CFEF61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67EA4C-B4F0-B845-90E0-8EEEFE39409D}" type="datetimeFigureOut">
              <a:rPr lang="en-GB" smtClean="0"/>
              <a:t>29/01/2025</a:t>
            </a:fld>
            <a:endParaRPr lang="en-GB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BC35726D-4AE3-304E-BDC9-5F9DAFDB497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E10C2763-C4D9-E145-8CE4-60EDB3AFDD2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C8E6AD-1B14-4049-BAF1-93EB13CB46CE}" type="slidenum">
              <a:rPr lang="en-GB" smtClean="0"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4543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1170E69-F454-044F-8253-34B6B3C497B5}" type="datetimeFigureOut">
              <a:rPr lang="en-GB" smtClean="0"/>
              <a:t>29/01/2025</a:t>
            </a:fld>
            <a:endParaRPr lang="en-GB" dirty="0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4348F3-224C-C942-AF8C-1E00136CFF68}" type="slidenum">
              <a:rPr lang="en-GB" smtClean="0"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6493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- Logo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lede 6">
            <a:extLst>
              <a:ext uri="{FF2B5EF4-FFF2-40B4-BE49-F238E27FC236}">
                <a16:creationId xmlns:a16="http://schemas.microsoft.com/office/drawing/2014/main" id="{B6DA7C2B-35B3-844E-8E9E-DE4C37B20A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50989" y="2672064"/>
            <a:ext cx="8004561" cy="1513871"/>
          </a:xfrm>
          <a:prstGeom prst="rect">
            <a:avLst/>
          </a:prstGeom>
        </p:spPr>
      </p:pic>
      <p:sp>
        <p:nvSpPr>
          <p:cNvPr id="6" name="Undertitel 2">
            <a:extLst>
              <a:ext uri="{FF2B5EF4-FFF2-40B4-BE49-F238E27FC236}">
                <a16:creationId xmlns:a16="http://schemas.microsoft.com/office/drawing/2014/main" id="{10631718-DD31-B947-A2C1-959EA388A49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76379" y="6154360"/>
            <a:ext cx="6922905" cy="334223"/>
          </a:xfrm>
          <a:prstGeom prst="rect">
            <a:avLst/>
          </a:prstGeom>
        </p:spPr>
        <p:txBody>
          <a:bodyPr anchor="ctr" anchorCtr="0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subheadline</a:t>
            </a:r>
            <a:r>
              <a:rPr lang="da-DK" dirty="0"/>
              <a:t> </a:t>
            </a:r>
            <a:r>
              <a:rPr lang="da-DK" dirty="0" err="1"/>
              <a:t>here</a:t>
            </a:r>
            <a:endParaRPr lang="en-GB" dirty="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787C456C-0823-BA43-8C3A-63F096182AAC}"/>
              </a:ext>
            </a:extLst>
          </p:cNvPr>
          <p:cNvSpPr/>
          <p:nvPr userDrawn="1"/>
        </p:nvSpPr>
        <p:spPr>
          <a:xfrm>
            <a:off x="3683000" y="6228162"/>
            <a:ext cx="637200" cy="18661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4318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32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page -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3A4DB2D-8D09-2042-AB04-DA78A45CFB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79418"/>
            <a:ext cx="5257800" cy="4478482"/>
          </a:xfrm>
          <a:prstGeom prst="rect">
            <a:avLst/>
          </a:prstGeom>
        </p:spPr>
        <p:txBody>
          <a:bodyPr/>
          <a:lstStyle>
            <a:lvl1pPr marL="228600" indent="-228600"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Arial" panose="020B0604020202020204" pitchFamily="34" charset="0"/>
              <a:buChar char="•"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Arial" panose="020B0604020202020204" pitchFamily="34" charset="0"/>
              <a:buChar char="•"/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 dirty="0"/>
              <a:t>Rediger typografien i masteren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GB" dirty="0"/>
          </a:p>
        </p:txBody>
      </p:sp>
      <p:sp>
        <p:nvSpPr>
          <p:cNvPr id="8" name="Pladsholder til indhold 2">
            <a:extLst>
              <a:ext uri="{FF2B5EF4-FFF2-40B4-BE49-F238E27FC236}">
                <a16:creationId xmlns:a16="http://schemas.microsoft.com/office/drawing/2014/main" id="{E7B2C090-B4C0-5A41-9982-8129A10D3A3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04386" y="1579418"/>
            <a:ext cx="4949414" cy="4478482"/>
          </a:xfrm>
          <a:prstGeom prst="rect">
            <a:avLst/>
          </a:prstGeom>
        </p:spPr>
        <p:txBody>
          <a:bodyPr/>
          <a:lstStyle>
            <a:lvl1pPr marL="228600" indent="-228600"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Arial" panose="020B0604020202020204" pitchFamily="34" charset="0"/>
              <a:buChar char="•"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Arial" panose="020B0604020202020204" pitchFamily="34" charset="0"/>
              <a:buChar char="•"/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 dirty="0"/>
              <a:t>Rediger typografien i masteren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headline here</a:t>
            </a:r>
            <a:endParaRPr lang="en-GB" dirty="0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4"/>
          </p:nvPr>
        </p:nvSpPr>
        <p:spPr>
          <a:xfrm>
            <a:off x="10705744" y="6227064"/>
            <a:ext cx="545592" cy="226187"/>
          </a:xfrm>
          <a:prstGeom prst="rect">
            <a:avLst/>
          </a:prstGeom>
        </p:spPr>
        <p:txBody>
          <a:bodyPr/>
          <a:lstStyle>
            <a:lvl1pPr algn="r">
              <a:defRPr sz="1200" b="1">
                <a:solidFill>
                  <a:schemeClr val="tx1"/>
                </a:solidFill>
              </a:defRPr>
            </a:lvl1pPr>
          </a:lstStyle>
          <a:p>
            <a:fld id="{51066E4D-1691-9E41-8A07-CA7CFF46E6E6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94410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16" userDrawn="1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981" userDrawn="1">
          <p15:clr>
            <a:srgbClr val="FBAE40"/>
          </p15:clr>
        </p15:guide>
        <p15:guide id="4" pos="4021" userDrawn="1">
          <p15:clr>
            <a:srgbClr val="FBAE40"/>
          </p15:clr>
        </p15:guide>
        <p15:guide id="5" pos="7151" userDrawn="1">
          <p15:clr>
            <a:srgbClr val="FBAE40"/>
          </p15:clr>
        </p15:guide>
        <p15:guide id="6" pos="529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page - 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3A4DB2D-8D09-2042-AB04-DA78A45CFB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79418"/>
            <a:ext cx="5257800" cy="4478482"/>
          </a:xfrm>
          <a:prstGeom prst="rect">
            <a:avLst/>
          </a:prstGeom>
        </p:spPr>
        <p:txBody>
          <a:bodyPr/>
          <a:lstStyle>
            <a:lvl1pPr marL="228600" indent="-228600"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Arial" panose="020B0604020202020204" pitchFamily="34" charset="0"/>
              <a:buChar char="•"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Arial" panose="020B0604020202020204" pitchFamily="34" charset="0"/>
              <a:buChar char="•"/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 dirty="0"/>
              <a:t>Rediger typografien i masteren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GB" dirty="0"/>
          </a:p>
        </p:txBody>
      </p:sp>
      <p:sp>
        <p:nvSpPr>
          <p:cNvPr id="8" name="Pladsholder til billede 4">
            <a:extLst>
              <a:ext uri="{FF2B5EF4-FFF2-40B4-BE49-F238E27FC236}">
                <a16:creationId xmlns:a16="http://schemas.microsoft.com/office/drawing/2014/main" id="{D36D81E9-9212-6545-8EED-47324FD9B74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357769" y="1579418"/>
            <a:ext cx="4996031" cy="44784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Drag and drop image here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headline here</a:t>
            </a:r>
            <a:endParaRPr lang="en-GB" dirty="0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4"/>
          </p:nvPr>
        </p:nvSpPr>
        <p:spPr>
          <a:xfrm>
            <a:off x="10705744" y="6227064"/>
            <a:ext cx="545592" cy="226187"/>
          </a:xfrm>
          <a:prstGeom prst="rect">
            <a:avLst/>
          </a:prstGeom>
        </p:spPr>
        <p:txBody>
          <a:bodyPr/>
          <a:lstStyle>
            <a:lvl1pPr algn="r">
              <a:defRPr sz="1200" b="1">
                <a:solidFill>
                  <a:schemeClr val="tx1"/>
                </a:solidFill>
              </a:defRPr>
            </a:lvl1pPr>
          </a:lstStyle>
          <a:p>
            <a:fld id="{51066E4D-1691-9E41-8A07-CA7CFF46E6E6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9284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16" userDrawn="1">
          <p15:clr>
            <a:srgbClr val="FBAE40"/>
          </p15:clr>
        </p15:guide>
        <p15:guide id="2" pos="3840">
          <p15:clr>
            <a:srgbClr val="FBAE40"/>
          </p15:clr>
        </p15:guide>
        <p15:guide id="3" pos="3999" userDrawn="1">
          <p15:clr>
            <a:srgbClr val="FBAE40"/>
          </p15:clr>
        </p15:guide>
        <p15:guide id="4" pos="7151" userDrawn="1">
          <p15:clr>
            <a:srgbClr val="FBAE40"/>
          </p15:clr>
        </p15:guide>
        <p15:guide id="5" pos="529" userDrawn="1">
          <p15:clr>
            <a:srgbClr val="FBAE40"/>
          </p15:clr>
        </p15:guide>
        <p15:guide id="6" orient="horz" pos="981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page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billede 4">
            <a:extLst>
              <a:ext uri="{FF2B5EF4-FFF2-40B4-BE49-F238E27FC236}">
                <a16:creationId xmlns:a16="http://schemas.microsoft.com/office/drawing/2014/main" id="{85E8FE13-6BF2-524A-BEA1-7D0B0FBF4C7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38200" y="1579418"/>
            <a:ext cx="10515600" cy="44784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Drag and drop image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headline here</a:t>
            </a:r>
            <a:endParaRPr lang="en-GB" dirty="0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4"/>
          </p:nvPr>
        </p:nvSpPr>
        <p:spPr>
          <a:xfrm>
            <a:off x="10705744" y="6227064"/>
            <a:ext cx="545592" cy="226187"/>
          </a:xfrm>
          <a:prstGeom prst="rect">
            <a:avLst/>
          </a:prstGeom>
        </p:spPr>
        <p:txBody>
          <a:bodyPr/>
          <a:lstStyle>
            <a:lvl1pPr algn="r">
              <a:defRPr sz="1200" b="1">
                <a:solidFill>
                  <a:schemeClr val="tx1"/>
                </a:solidFill>
              </a:defRPr>
            </a:lvl1pPr>
          </a:lstStyle>
          <a:p>
            <a:fld id="{51066E4D-1691-9E41-8A07-CA7CFF46E6E6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78977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16" userDrawn="1">
          <p15:clr>
            <a:srgbClr val="FBAE40"/>
          </p15:clr>
        </p15:guide>
        <p15:guide id="2" pos="3840">
          <p15:clr>
            <a:srgbClr val="FBAE40"/>
          </p15:clr>
        </p15:guide>
        <p15:guide id="3" pos="529" userDrawn="1">
          <p15:clr>
            <a:srgbClr val="FBAE40"/>
          </p15:clr>
        </p15:guide>
        <p15:guide id="4" pos="7151" userDrawn="1">
          <p15:clr>
            <a:srgbClr val="FBAE40"/>
          </p15:clr>
        </p15:guide>
        <p15:guide id="5" orient="horz" pos="981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page -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headline here</a:t>
            </a:r>
            <a:endParaRPr lang="en-GB" dirty="0"/>
          </a:p>
        </p:txBody>
      </p:sp>
      <p:sp>
        <p:nvSpPr>
          <p:cNvPr id="4" name="Pladsholder til slidenummer 5"/>
          <p:cNvSpPr>
            <a:spLocks noGrp="1"/>
          </p:cNvSpPr>
          <p:nvPr>
            <p:ph type="sldNum" sz="quarter" idx="4"/>
          </p:nvPr>
        </p:nvSpPr>
        <p:spPr>
          <a:xfrm>
            <a:off x="10705744" y="6208014"/>
            <a:ext cx="545592" cy="226187"/>
          </a:xfrm>
          <a:prstGeom prst="rect">
            <a:avLst/>
          </a:prstGeom>
        </p:spPr>
        <p:txBody>
          <a:bodyPr/>
          <a:lstStyle>
            <a:lvl1pPr algn="r">
              <a:defRPr sz="1200" b="1">
                <a:solidFill>
                  <a:schemeClr val="tx1"/>
                </a:solidFill>
              </a:defRPr>
            </a:lvl1pPr>
          </a:lstStyle>
          <a:p>
            <a:fld id="{51066E4D-1691-9E41-8A07-CA7CFF46E6E6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48721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38" userDrawn="1">
          <p15:clr>
            <a:srgbClr val="FBAE40"/>
          </p15:clr>
        </p15:guide>
        <p15:guide id="2" pos="3840">
          <p15:clr>
            <a:srgbClr val="FBAE40"/>
          </p15:clr>
        </p15:guide>
        <p15:guide id="3" pos="529" userDrawn="1">
          <p15:clr>
            <a:srgbClr val="FBAE40"/>
          </p15:clr>
        </p15:guide>
        <p15:guide id="4" pos="7151" userDrawn="1">
          <p15:clr>
            <a:srgbClr val="FBAE40"/>
          </p15:clr>
        </p15:guide>
        <p15:guide id="5" orient="horz" pos="981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page - Full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53974A56-25A7-CC4E-86AD-2993A19DE90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484563" y="462014"/>
            <a:ext cx="8707437" cy="55546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FCE121AD-E73C-8048-BDC2-7A295DA1B5CF}"/>
              </a:ext>
            </a:extLst>
          </p:cNvPr>
          <p:cNvSpPr/>
          <p:nvPr userDrawn="1"/>
        </p:nvSpPr>
        <p:spPr>
          <a:xfrm>
            <a:off x="947738" y="773070"/>
            <a:ext cx="637200" cy="18661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" name="Titel 12"/>
          <p:cNvSpPr>
            <a:spLocks noGrp="1"/>
          </p:cNvSpPr>
          <p:nvPr>
            <p:ph type="title" hasCustomPrompt="1"/>
          </p:nvPr>
        </p:nvSpPr>
        <p:spPr>
          <a:xfrm>
            <a:off x="838800" y="1159230"/>
            <a:ext cx="10515000" cy="114978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defRPr b="0" i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headline</a:t>
            </a:r>
            <a:r>
              <a:rPr lang="da-DK" dirty="0"/>
              <a:t> </a:t>
            </a:r>
            <a:r>
              <a:rPr lang="da-DK" dirty="0" err="1"/>
              <a:t>here</a:t>
            </a:r>
            <a:endParaRPr lang="en-GB" dirty="0"/>
          </a:p>
        </p:txBody>
      </p:sp>
      <p:sp>
        <p:nvSpPr>
          <p:cNvPr id="7" name="Pladsholder til indhold 2"/>
          <p:cNvSpPr>
            <a:spLocks noGrp="1"/>
          </p:cNvSpPr>
          <p:nvPr>
            <p:ph idx="1" hasCustomPrompt="1"/>
          </p:nvPr>
        </p:nvSpPr>
        <p:spPr>
          <a:xfrm>
            <a:off x="838200" y="2517289"/>
            <a:ext cx="2646363" cy="3499463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 typeface="Arial" panose="020B0604020202020204" pitchFamily="34" charset="0"/>
              <a:buNone/>
              <a:defRPr b="0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 typeface="Arial" panose="020B0604020202020204" pitchFamily="34" charset="0"/>
              <a:buNone/>
              <a:defRPr b="0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 typeface="Arial" panose="020B0604020202020204" pitchFamily="34" charset="0"/>
              <a:buNone/>
              <a:defRPr b="0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 typeface="Arial" panose="020B0604020202020204" pitchFamily="34" charset="0"/>
              <a:buNone/>
              <a:defRPr b="0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 dirty="0"/>
              <a:t>Rediger typografien i masterens</a:t>
            </a: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4"/>
          </p:nvPr>
        </p:nvSpPr>
        <p:spPr>
          <a:xfrm>
            <a:off x="10705744" y="6227064"/>
            <a:ext cx="545592" cy="226187"/>
          </a:xfrm>
          <a:prstGeom prst="rect">
            <a:avLst/>
          </a:prstGeom>
        </p:spPr>
        <p:txBody>
          <a:bodyPr/>
          <a:lstStyle>
            <a:lvl1pPr algn="r">
              <a:defRPr sz="1200" b="1">
                <a:solidFill>
                  <a:schemeClr val="tx1"/>
                </a:solidFill>
              </a:defRPr>
            </a:lvl1pPr>
          </a:lstStyle>
          <a:p>
            <a:fld id="{51066E4D-1691-9E41-8A07-CA7CFF46E6E6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10899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93" userDrawn="1">
          <p15:clr>
            <a:srgbClr val="FBAE40"/>
          </p15:clr>
        </p15:guide>
        <p15:guide id="2" pos="529" userDrawn="1">
          <p15:clr>
            <a:srgbClr val="FBAE40"/>
          </p15:clr>
        </p15:guide>
        <p15:guide id="3" orient="horz" pos="3793" userDrawn="1">
          <p15:clr>
            <a:srgbClr val="FBAE40"/>
          </p15:clr>
        </p15:guide>
        <p15:guide id="4" pos="21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/ New sectio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3A4DB2D-8D09-2042-AB04-DA78A45CFBE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3238052"/>
            <a:ext cx="5928360" cy="27787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Insert quote or statement here</a:t>
            </a:r>
          </a:p>
          <a:p>
            <a:pPr lvl="0"/>
            <a:r>
              <a:rPr lang="en-GB" dirty="0"/>
              <a:t>Size can be adjusted manually</a:t>
            </a:r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BC18F4A0-4F6C-5D47-8B69-1C0D070819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799" y="1159230"/>
            <a:ext cx="7724287" cy="1928215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defRPr sz="6600" b="1" i="0">
                <a:solidFill>
                  <a:schemeClr val="tx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breaker</a:t>
            </a:r>
            <a:br>
              <a:rPr lang="da-DK" dirty="0"/>
            </a:br>
            <a:r>
              <a:rPr lang="da-DK" dirty="0" err="1"/>
              <a:t>headline</a:t>
            </a:r>
            <a:r>
              <a:rPr lang="da-DK" dirty="0"/>
              <a:t> </a:t>
            </a:r>
            <a:r>
              <a:rPr lang="da-DK" dirty="0" err="1"/>
              <a:t>here</a:t>
            </a:r>
            <a:endParaRPr lang="en-GB" dirty="0"/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E047FC5F-0A63-9541-AD3D-C28B6D1A1321}"/>
              </a:ext>
            </a:extLst>
          </p:cNvPr>
          <p:cNvSpPr/>
          <p:nvPr userDrawn="1"/>
        </p:nvSpPr>
        <p:spPr>
          <a:xfrm>
            <a:off x="947738" y="773070"/>
            <a:ext cx="637200" cy="18661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" name="Pladsholder til slidenummer 5">
            <a:extLst>
              <a:ext uri="{FF2B5EF4-FFF2-40B4-BE49-F238E27FC236}">
                <a16:creationId xmlns:a16="http://schemas.microsoft.com/office/drawing/2014/main" id="{B7738037-6FB8-D84E-9F5E-2CE1B9CA6B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05744" y="6227064"/>
            <a:ext cx="545592" cy="226187"/>
          </a:xfrm>
          <a:prstGeom prst="rect">
            <a:avLst/>
          </a:prstGeom>
        </p:spPr>
        <p:txBody>
          <a:bodyPr/>
          <a:lstStyle>
            <a:lvl1pPr algn="r">
              <a:defRPr sz="1200" b="1">
                <a:solidFill>
                  <a:schemeClr val="tx1"/>
                </a:solidFill>
              </a:defRPr>
            </a:lvl1pPr>
          </a:lstStyle>
          <a:p>
            <a:fld id="{51066E4D-1691-9E41-8A07-CA7CFF46E6E6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45039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93" userDrawn="1">
          <p15:clr>
            <a:srgbClr val="FBAE40"/>
          </p15:clr>
        </p15:guide>
        <p15:guide id="2" pos="4271" userDrawn="1">
          <p15:clr>
            <a:srgbClr val="FBAE40"/>
          </p15:clr>
        </p15:guide>
        <p15:guide id="3" pos="529" userDrawn="1">
          <p15:clr>
            <a:srgbClr val="FBAE40"/>
          </p15:clr>
        </p15:guide>
        <p15:guide id="4" pos="5405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/ New section -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3A4DB2D-8D09-2042-AB04-DA78A45CFBE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3238052"/>
            <a:ext cx="5928360" cy="27787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Insert quote or statement here</a:t>
            </a:r>
          </a:p>
          <a:p>
            <a:pPr lvl="0"/>
            <a:r>
              <a:rPr lang="en-GB" dirty="0"/>
              <a:t>Size can be adjusted manually</a:t>
            </a:r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BC18F4A0-4F6C-5D47-8B69-1C0D070819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799" y="1159230"/>
            <a:ext cx="7724287" cy="1928215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defRPr sz="66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breaker</a:t>
            </a:r>
            <a:br>
              <a:rPr lang="da-DK" dirty="0"/>
            </a:br>
            <a:r>
              <a:rPr lang="da-DK" dirty="0" err="1"/>
              <a:t>headline</a:t>
            </a:r>
            <a:r>
              <a:rPr lang="da-DK" dirty="0"/>
              <a:t> </a:t>
            </a:r>
            <a:r>
              <a:rPr lang="da-DK" dirty="0" err="1"/>
              <a:t>here</a:t>
            </a:r>
            <a:endParaRPr lang="en-GB" dirty="0"/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8F8AFB1B-1B7C-3F40-ABDD-787ACA4F917A}"/>
              </a:ext>
            </a:extLst>
          </p:cNvPr>
          <p:cNvSpPr/>
          <p:nvPr userDrawn="1"/>
        </p:nvSpPr>
        <p:spPr>
          <a:xfrm>
            <a:off x="947738" y="773070"/>
            <a:ext cx="637200" cy="18661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" name="Pladsholder til slidenummer 5">
            <a:extLst>
              <a:ext uri="{FF2B5EF4-FFF2-40B4-BE49-F238E27FC236}">
                <a16:creationId xmlns:a16="http://schemas.microsoft.com/office/drawing/2014/main" id="{D90F793D-C45E-F94C-BF45-7F2BBF16FA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05744" y="6227064"/>
            <a:ext cx="545592" cy="226187"/>
          </a:xfrm>
          <a:prstGeom prst="rect">
            <a:avLst/>
          </a:prstGeom>
        </p:spPr>
        <p:txBody>
          <a:bodyPr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51066E4D-1691-9E41-8A07-CA7CFF46E6E6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44193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93" userDrawn="1">
          <p15:clr>
            <a:srgbClr val="FBAE40"/>
          </p15:clr>
        </p15:guide>
        <p15:guide id="2" pos="4271" userDrawn="1">
          <p15:clr>
            <a:srgbClr val="FBAE40"/>
          </p15:clr>
        </p15:guide>
        <p15:guide id="4" pos="529" userDrawn="1">
          <p15:clr>
            <a:srgbClr val="FBAE40"/>
          </p15:clr>
        </p15:guide>
        <p15:guide id="5" pos="5405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/ New section - gree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3A4DB2D-8D09-2042-AB04-DA78A45CFBE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3238052"/>
            <a:ext cx="5928360" cy="27787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Insert quote or statement here</a:t>
            </a:r>
          </a:p>
          <a:p>
            <a:pPr lvl="0"/>
            <a:r>
              <a:rPr lang="en-GB" dirty="0"/>
              <a:t>Size can be adjusted manually</a:t>
            </a:r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BC18F4A0-4F6C-5D47-8B69-1C0D070819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799" y="1159230"/>
            <a:ext cx="7724287" cy="1928215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defRPr sz="66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breaker</a:t>
            </a:r>
            <a:br>
              <a:rPr lang="da-DK" dirty="0"/>
            </a:br>
            <a:r>
              <a:rPr lang="da-DK" dirty="0" err="1"/>
              <a:t>headline</a:t>
            </a:r>
            <a:r>
              <a:rPr lang="da-DK" dirty="0"/>
              <a:t> </a:t>
            </a:r>
            <a:r>
              <a:rPr lang="da-DK" dirty="0" err="1"/>
              <a:t>here</a:t>
            </a:r>
            <a:endParaRPr lang="en-GB" dirty="0"/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364E4442-DB06-204F-87C7-B7F195274696}"/>
              </a:ext>
            </a:extLst>
          </p:cNvPr>
          <p:cNvSpPr/>
          <p:nvPr userDrawn="1"/>
        </p:nvSpPr>
        <p:spPr>
          <a:xfrm>
            <a:off x="947738" y="773070"/>
            <a:ext cx="637200" cy="1866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7" name="Pladsholder til slidenummer 5">
            <a:extLst>
              <a:ext uri="{FF2B5EF4-FFF2-40B4-BE49-F238E27FC236}">
                <a16:creationId xmlns:a16="http://schemas.microsoft.com/office/drawing/2014/main" id="{6AE495CA-F431-2C4C-9B8C-302A066406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05744" y="6227064"/>
            <a:ext cx="545592" cy="226187"/>
          </a:xfrm>
          <a:prstGeom prst="rect">
            <a:avLst/>
          </a:prstGeom>
        </p:spPr>
        <p:txBody>
          <a:bodyPr/>
          <a:lstStyle>
            <a:lvl1pPr algn="r">
              <a:defRPr sz="1200" b="1">
                <a:solidFill>
                  <a:schemeClr val="accent3"/>
                </a:solidFill>
              </a:defRPr>
            </a:lvl1pPr>
          </a:lstStyle>
          <a:p>
            <a:fld id="{51066E4D-1691-9E41-8A07-CA7CFF46E6E6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34980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16" userDrawn="1">
          <p15:clr>
            <a:srgbClr val="FBAE40"/>
          </p15:clr>
        </p15:guide>
        <p15:guide id="2" pos="4271" userDrawn="1">
          <p15:clr>
            <a:srgbClr val="FBAE40"/>
          </p15:clr>
        </p15:guide>
        <p15:guide id="3" pos="5405" userDrawn="1">
          <p15:clr>
            <a:srgbClr val="FBAE40"/>
          </p15:clr>
        </p15:guide>
        <p15:guide id="4" pos="529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3A4DB2D-8D09-2042-AB04-DA78A45CFB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517289"/>
            <a:ext cx="10515600" cy="3499463"/>
          </a:xfrm>
          <a:prstGeom prst="rect">
            <a:avLst/>
          </a:prstGeom>
        </p:spPr>
        <p:txBody>
          <a:bodyPr/>
          <a:lstStyle>
            <a:lvl1pPr marL="228600" indent="-228600"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 dirty="0"/>
              <a:t>Rediger typografien i masteren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GB" dirty="0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BC18F4A0-4F6C-5D47-8B69-1C0D070819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0" y="1159230"/>
            <a:ext cx="10515000" cy="114978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defRPr b="0" i="0">
                <a:solidFill>
                  <a:schemeClr val="tx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headline</a:t>
            </a:r>
            <a:r>
              <a:rPr lang="da-DK" dirty="0"/>
              <a:t> </a:t>
            </a:r>
            <a:r>
              <a:rPr lang="da-DK" dirty="0" err="1"/>
              <a:t>here</a:t>
            </a:r>
            <a:endParaRPr lang="en-GB" dirty="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524771F6-2CAD-9A46-B3F0-45888969E4CC}"/>
              </a:ext>
            </a:extLst>
          </p:cNvPr>
          <p:cNvSpPr/>
          <p:nvPr userDrawn="1"/>
        </p:nvSpPr>
        <p:spPr>
          <a:xfrm>
            <a:off x="947738" y="773070"/>
            <a:ext cx="637200" cy="18661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" name="Pladsholder til slidenummer 5">
            <a:extLst>
              <a:ext uri="{FF2B5EF4-FFF2-40B4-BE49-F238E27FC236}">
                <a16:creationId xmlns:a16="http://schemas.microsoft.com/office/drawing/2014/main" id="{8536054D-EAF8-1E49-B819-875B53F0E9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05744" y="6227064"/>
            <a:ext cx="545592" cy="226186"/>
          </a:xfrm>
          <a:prstGeom prst="rect">
            <a:avLst/>
          </a:prstGeom>
        </p:spPr>
        <p:txBody>
          <a:bodyPr/>
          <a:lstStyle>
            <a:lvl1pPr algn="r">
              <a:defRPr sz="1200" b="1">
                <a:solidFill>
                  <a:schemeClr val="tx1"/>
                </a:solidFill>
              </a:defRPr>
            </a:lvl1pPr>
          </a:lstStyle>
          <a:p>
            <a:fld id="{51066E4D-1691-9E41-8A07-CA7CFF46E6E6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51590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93" userDrawn="1">
          <p15:clr>
            <a:srgbClr val="FBAE40"/>
          </p15:clr>
        </p15:guide>
        <p15:guide id="2" pos="3840">
          <p15:clr>
            <a:srgbClr val="FBAE40"/>
          </p15:clr>
        </p15:guide>
        <p15:guide id="3" pos="7174" userDrawn="1">
          <p15:clr>
            <a:srgbClr val="FBAE40"/>
          </p15:clr>
        </p15:guide>
        <p15:guide id="4" pos="529" userDrawn="1">
          <p15:clr>
            <a:srgbClr val="FBAE40"/>
          </p15:clr>
        </p15:guide>
        <p15:guide id="5" orient="horz" pos="1593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s -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3A4DB2D-8D09-2042-AB04-DA78A45CFB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517289"/>
            <a:ext cx="10515600" cy="3499463"/>
          </a:xfrm>
          <a:prstGeom prst="rect">
            <a:avLst/>
          </a:prstGeom>
        </p:spPr>
        <p:txBody>
          <a:bodyPr/>
          <a:lstStyle>
            <a:lvl1pPr marL="228600" indent="-228600">
              <a:buFont typeface="Arial" panose="020B0604020202020204" pitchFamily="34" charset="0"/>
              <a:buChar char="•"/>
              <a:defRPr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Arial" panose="020B0604020202020204" pitchFamily="34" charset="0"/>
              <a:buChar char="•"/>
              <a:defRPr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Arial" panose="020B0604020202020204" pitchFamily="34" charset="0"/>
              <a:buChar char="•"/>
              <a:defRPr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Arial" panose="020B0604020202020204" pitchFamily="34" charset="0"/>
              <a:buChar char="•"/>
              <a:defRPr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Arial" panose="020B0604020202020204" pitchFamily="34" charset="0"/>
              <a:buChar char="•"/>
              <a:defRPr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 dirty="0"/>
              <a:t>Rediger typografien i masteren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GB" dirty="0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BC18F4A0-4F6C-5D47-8B69-1C0D070819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0" y="1159230"/>
            <a:ext cx="10515000" cy="114978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defRPr b="0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headline</a:t>
            </a:r>
            <a:r>
              <a:rPr lang="da-DK" dirty="0"/>
              <a:t> </a:t>
            </a:r>
            <a:r>
              <a:rPr lang="da-DK" dirty="0" err="1"/>
              <a:t>here</a:t>
            </a:r>
            <a:endParaRPr lang="en-GB" dirty="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4569E090-45DA-BC49-88CC-241A228B8144}"/>
              </a:ext>
            </a:extLst>
          </p:cNvPr>
          <p:cNvSpPr/>
          <p:nvPr userDrawn="1"/>
        </p:nvSpPr>
        <p:spPr>
          <a:xfrm>
            <a:off x="947738" y="773070"/>
            <a:ext cx="637200" cy="18661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5B3B2A5C-B19E-AB46-829E-508E93FB14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9600" y="6264000"/>
            <a:ext cx="1063752" cy="201251"/>
          </a:xfrm>
          <a:prstGeom prst="rect">
            <a:avLst/>
          </a:prstGeom>
        </p:spPr>
      </p:pic>
      <p:sp>
        <p:nvSpPr>
          <p:cNvPr id="9" name="Pladsholder til slidenummer 5">
            <a:extLst>
              <a:ext uri="{FF2B5EF4-FFF2-40B4-BE49-F238E27FC236}">
                <a16:creationId xmlns:a16="http://schemas.microsoft.com/office/drawing/2014/main" id="{002B6CA9-E962-3A46-B063-0B420C79B6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05744" y="6227064"/>
            <a:ext cx="545592" cy="226187"/>
          </a:xfrm>
          <a:prstGeom prst="rect">
            <a:avLst/>
          </a:prstGeom>
        </p:spPr>
        <p:txBody>
          <a:bodyPr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51066E4D-1691-9E41-8A07-CA7CFF46E6E6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3768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93" userDrawn="1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1593" userDrawn="1">
          <p15:clr>
            <a:srgbClr val="FBAE40"/>
          </p15:clr>
        </p15:guide>
        <p15:guide id="4" pos="529" userDrawn="1">
          <p15:clr>
            <a:srgbClr val="FBAE40"/>
          </p15:clr>
        </p15:guide>
        <p15:guide id="5" pos="7174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- Logo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5">
            <a:extLst>
              <a:ext uri="{FF2B5EF4-FFF2-40B4-BE49-F238E27FC236}">
                <a16:creationId xmlns:a16="http://schemas.microsoft.com/office/drawing/2014/main" id="{9202D328-0317-2E4C-9864-D98C57B3EB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52000" y="2671200"/>
            <a:ext cx="8013703" cy="1515600"/>
          </a:xfrm>
          <a:prstGeom prst="rect">
            <a:avLst/>
          </a:prstGeom>
        </p:spPr>
      </p:pic>
      <p:sp>
        <p:nvSpPr>
          <p:cNvPr id="5" name="Undertitel 2">
            <a:extLst>
              <a:ext uri="{FF2B5EF4-FFF2-40B4-BE49-F238E27FC236}">
                <a16:creationId xmlns:a16="http://schemas.microsoft.com/office/drawing/2014/main" id="{200FA8DB-36A5-4447-A4E3-3D89250318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76379" y="6154360"/>
            <a:ext cx="6922905" cy="334223"/>
          </a:xfrm>
          <a:prstGeom prst="rect">
            <a:avLst/>
          </a:prstGeom>
        </p:spPr>
        <p:txBody>
          <a:bodyPr anchor="ctr" anchorCtr="0"/>
          <a:lstStyle>
            <a:lvl1pPr marL="0" indent="0" algn="l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subheadline</a:t>
            </a:r>
            <a:r>
              <a:rPr lang="da-DK" dirty="0"/>
              <a:t> </a:t>
            </a:r>
            <a:r>
              <a:rPr lang="da-DK" dirty="0" err="1"/>
              <a:t>here</a:t>
            </a:r>
            <a:endParaRPr lang="en-GB" dirty="0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E6955D5B-6EA5-EC46-9DCB-14174EA1AE7F}"/>
              </a:ext>
            </a:extLst>
          </p:cNvPr>
          <p:cNvSpPr/>
          <p:nvPr userDrawn="1"/>
        </p:nvSpPr>
        <p:spPr>
          <a:xfrm>
            <a:off x="3683000" y="6228162"/>
            <a:ext cx="637200" cy="18661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70499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32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s - gree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3A4DB2D-8D09-2042-AB04-DA78A45CFB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517289"/>
            <a:ext cx="10515600" cy="3499463"/>
          </a:xfrm>
          <a:prstGeom prst="rect">
            <a:avLst/>
          </a:prstGeom>
        </p:spPr>
        <p:txBody>
          <a:bodyPr/>
          <a:lstStyle>
            <a:lvl1pPr marL="228600" indent="-228600">
              <a:buFont typeface="Arial" panose="020B0604020202020204" pitchFamily="34" charset="0"/>
              <a:buChar char="•"/>
              <a:defRPr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Arial" panose="020B0604020202020204" pitchFamily="34" charset="0"/>
              <a:buChar char="•"/>
              <a:defRPr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Arial" panose="020B0604020202020204" pitchFamily="34" charset="0"/>
              <a:buChar char="•"/>
              <a:defRPr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Arial" panose="020B0604020202020204" pitchFamily="34" charset="0"/>
              <a:buChar char="•"/>
              <a:defRPr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Arial" panose="020B0604020202020204" pitchFamily="34" charset="0"/>
              <a:buChar char="•"/>
              <a:defRPr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 dirty="0"/>
              <a:t>Rediger typografien i masteren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GB" dirty="0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BC18F4A0-4F6C-5D47-8B69-1C0D070819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0" y="1159230"/>
            <a:ext cx="10515000" cy="114978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defRPr b="0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headline</a:t>
            </a:r>
            <a:r>
              <a:rPr lang="da-DK" dirty="0"/>
              <a:t> </a:t>
            </a:r>
            <a:r>
              <a:rPr lang="da-DK" dirty="0" err="1"/>
              <a:t>here</a:t>
            </a:r>
            <a:endParaRPr lang="en-GB" dirty="0"/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5BBF8D5A-FB56-8148-9D63-065EDB5CBE73}"/>
              </a:ext>
            </a:extLst>
          </p:cNvPr>
          <p:cNvSpPr/>
          <p:nvPr userDrawn="1"/>
        </p:nvSpPr>
        <p:spPr>
          <a:xfrm>
            <a:off x="947738" y="773070"/>
            <a:ext cx="637200" cy="1866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" name="Pladsholder til slidenummer 5">
            <a:extLst>
              <a:ext uri="{FF2B5EF4-FFF2-40B4-BE49-F238E27FC236}">
                <a16:creationId xmlns:a16="http://schemas.microsoft.com/office/drawing/2014/main" id="{227BB0F7-EDB2-5E4C-BA8C-20DA976479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05744" y="6227064"/>
            <a:ext cx="545592" cy="226187"/>
          </a:xfrm>
          <a:prstGeom prst="rect">
            <a:avLst/>
          </a:prstGeom>
        </p:spPr>
        <p:txBody>
          <a:bodyPr/>
          <a:lstStyle>
            <a:lvl1pPr algn="r">
              <a:defRPr sz="1200" b="1">
                <a:solidFill>
                  <a:schemeClr val="accent3"/>
                </a:solidFill>
              </a:defRPr>
            </a:lvl1pPr>
          </a:lstStyle>
          <a:p>
            <a:fld id="{51066E4D-1691-9E41-8A07-CA7CFF46E6E6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88601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93" userDrawn="1">
          <p15:clr>
            <a:srgbClr val="FBAE40"/>
          </p15:clr>
        </p15:guide>
        <p15:guide id="2" pos="3840">
          <p15:clr>
            <a:srgbClr val="FBAE40"/>
          </p15:clr>
        </p15:guide>
        <p15:guide id="3" pos="7151" userDrawn="1">
          <p15:clr>
            <a:srgbClr val="FBAE40"/>
          </p15:clr>
        </p15:guide>
        <p15:guide id="4" pos="529" userDrawn="1">
          <p15:clr>
            <a:srgbClr val="FBAE40"/>
          </p15:clr>
        </p15:guide>
        <p15:guide id="5" orient="horz" pos="1593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- Text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11DD113E-87CC-3A45-8FE3-80B501F00035}"/>
              </a:ext>
            </a:extLst>
          </p:cNvPr>
          <p:cNvSpPr/>
          <p:nvPr userDrawn="1"/>
        </p:nvSpPr>
        <p:spPr>
          <a:xfrm>
            <a:off x="938784" y="1687473"/>
            <a:ext cx="637200" cy="18661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7612CD28-205E-494C-A693-E22B133C11C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7738" y="6264835"/>
            <a:ext cx="1065600" cy="200765"/>
          </a:xfrm>
          <a:prstGeom prst="rect">
            <a:avLst/>
          </a:prstGeom>
        </p:spPr>
      </p:pic>
      <p:sp>
        <p:nvSpPr>
          <p:cNvPr id="9" name="Undertitel 2"/>
          <p:cNvSpPr txBox="1">
            <a:spLocks/>
          </p:cNvSpPr>
          <p:nvPr userDrawn="1"/>
        </p:nvSpPr>
        <p:spPr>
          <a:xfrm>
            <a:off x="865632" y="1960880"/>
            <a:ext cx="9144000" cy="352552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i="0" kern="1200" baseline="0">
                <a:solidFill>
                  <a:schemeClr val="accent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>
                <a:solidFill>
                  <a:schemeClr val="tx1"/>
                </a:solidFill>
              </a:rPr>
              <a:t>Salling Group </a:t>
            </a:r>
            <a:br>
              <a:rPr lang="da-DK" dirty="0">
                <a:solidFill>
                  <a:schemeClr val="tx1"/>
                </a:solidFill>
              </a:rPr>
            </a:br>
            <a:r>
              <a:rPr lang="da-DK" dirty="0">
                <a:solidFill>
                  <a:schemeClr val="tx1"/>
                </a:solidFill>
              </a:rPr>
              <a:t>Rosbjergvej 33 </a:t>
            </a:r>
            <a:br>
              <a:rPr lang="da-DK" dirty="0">
                <a:solidFill>
                  <a:schemeClr val="tx1"/>
                </a:solidFill>
              </a:rPr>
            </a:br>
            <a:r>
              <a:rPr lang="da-DK" dirty="0">
                <a:solidFill>
                  <a:schemeClr val="tx1"/>
                </a:solidFill>
              </a:rPr>
              <a:t>8220 Brabrand </a:t>
            </a:r>
            <a:br>
              <a:rPr lang="da-DK" dirty="0">
                <a:solidFill>
                  <a:schemeClr val="tx1"/>
                </a:solidFill>
              </a:rPr>
            </a:br>
            <a:r>
              <a:rPr lang="da-DK" dirty="0">
                <a:solidFill>
                  <a:schemeClr val="tx1"/>
                </a:solidFill>
              </a:rPr>
              <a:t>+45 8778 5000 </a:t>
            </a:r>
            <a:br>
              <a:rPr lang="da-DK" dirty="0">
                <a:solidFill>
                  <a:schemeClr val="tx1"/>
                </a:solidFill>
              </a:rPr>
            </a:br>
            <a:r>
              <a:rPr lang="da-DK" dirty="0">
                <a:solidFill>
                  <a:schemeClr val="tx1"/>
                </a:solidFill>
              </a:rPr>
              <a:t>sallinggroup.com</a:t>
            </a:r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518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41" userDrawn="1">
          <p15:clr>
            <a:srgbClr val="FBAE40"/>
          </p15:clr>
        </p15:guide>
        <p15:guide id="2" pos="597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- Text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lede 12">
            <a:extLst>
              <a:ext uri="{FF2B5EF4-FFF2-40B4-BE49-F238E27FC236}">
                <a16:creationId xmlns:a16="http://schemas.microsoft.com/office/drawing/2014/main" id="{0619B1F4-6D5A-D345-9062-F3357B9948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9600" y="6264000"/>
            <a:ext cx="1063752" cy="201251"/>
          </a:xfrm>
          <a:prstGeom prst="rect">
            <a:avLst/>
          </a:prstGeom>
        </p:spPr>
      </p:pic>
      <p:sp>
        <p:nvSpPr>
          <p:cNvPr id="9" name="Rektangel 8">
            <a:extLst>
              <a:ext uri="{FF2B5EF4-FFF2-40B4-BE49-F238E27FC236}">
                <a16:creationId xmlns:a16="http://schemas.microsoft.com/office/drawing/2014/main" id="{07FD87F8-EA4D-A847-B58E-D5B9CFF6EBBD}"/>
              </a:ext>
            </a:extLst>
          </p:cNvPr>
          <p:cNvSpPr/>
          <p:nvPr userDrawn="1"/>
        </p:nvSpPr>
        <p:spPr>
          <a:xfrm>
            <a:off x="938784" y="1687473"/>
            <a:ext cx="637200" cy="18661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" name="Undertitel 2"/>
          <p:cNvSpPr txBox="1">
            <a:spLocks/>
          </p:cNvSpPr>
          <p:nvPr userDrawn="1"/>
        </p:nvSpPr>
        <p:spPr>
          <a:xfrm>
            <a:off x="865632" y="1960880"/>
            <a:ext cx="9144000" cy="352552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i="0" kern="1200" baseline="0">
                <a:solidFill>
                  <a:schemeClr val="accent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>
                <a:solidFill>
                  <a:schemeClr val="bg1"/>
                </a:solidFill>
              </a:rPr>
              <a:t>Salling Group </a:t>
            </a:r>
            <a:br>
              <a:rPr lang="da-DK" dirty="0">
                <a:solidFill>
                  <a:schemeClr val="bg1"/>
                </a:solidFill>
              </a:rPr>
            </a:br>
            <a:r>
              <a:rPr lang="da-DK" dirty="0">
                <a:solidFill>
                  <a:schemeClr val="bg1"/>
                </a:solidFill>
              </a:rPr>
              <a:t>Rosbjergvej 33 </a:t>
            </a:r>
            <a:br>
              <a:rPr lang="da-DK" dirty="0">
                <a:solidFill>
                  <a:schemeClr val="bg1"/>
                </a:solidFill>
              </a:rPr>
            </a:br>
            <a:r>
              <a:rPr lang="da-DK" dirty="0">
                <a:solidFill>
                  <a:schemeClr val="bg1"/>
                </a:solidFill>
              </a:rPr>
              <a:t>8220 Brabrand </a:t>
            </a:r>
            <a:br>
              <a:rPr lang="da-DK" dirty="0">
                <a:solidFill>
                  <a:schemeClr val="bg1"/>
                </a:solidFill>
              </a:rPr>
            </a:br>
            <a:r>
              <a:rPr lang="da-DK" dirty="0">
                <a:solidFill>
                  <a:schemeClr val="bg1"/>
                </a:solidFill>
              </a:rPr>
              <a:t>+45 8778 5000 </a:t>
            </a:r>
            <a:br>
              <a:rPr lang="da-DK" dirty="0">
                <a:solidFill>
                  <a:schemeClr val="bg1"/>
                </a:solidFill>
              </a:rPr>
            </a:br>
            <a:r>
              <a:rPr lang="da-DK" dirty="0">
                <a:solidFill>
                  <a:schemeClr val="bg1"/>
                </a:solidFill>
              </a:rPr>
              <a:t>sallinggroup.com</a:t>
            </a:r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20099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41" userDrawn="1">
          <p15:clr>
            <a:srgbClr val="FBAE40"/>
          </p15:clr>
        </p15:guide>
        <p15:guide id="2" pos="59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- Text gree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B8E5D77C-1B97-4047-979B-BC6695BE4534}"/>
              </a:ext>
            </a:extLst>
          </p:cNvPr>
          <p:cNvSpPr/>
          <p:nvPr userDrawn="1"/>
        </p:nvSpPr>
        <p:spPr>
          <a:xfrm>
            <a:off x="947738" y="1687473"/>
            <a:ext cx="637200" cy="1866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Billede 5">
            <a:extLst>
              <a:ext uri="{FF2B5EF4-FFF2-40B4-BE49-F238E27FC236}">
                <a16:creationId xmlns:a16="http://schemas.microsoft.com/office/drawing/2014/main" id="{00D33183-02EA-9F4B-A4CA-CCBAEE03F08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7738" y="6264835"/>
            <a:ext cx="1065600" cy="200765"/>
          </a:xfrm>
          <a:prstGeom prst="rect">
            <a:avLst/>
          </a:prstGeom>
        </p:spPr>
      </p:pic>
      <p:sp>
        <p:nvSpPr>
          <p:cNvPr id="12" name="Undertitel 2"/>
          <p:cNvSpPr txBox="1">
            <a:spLocks/>
          </p:cNvSpPr>
          <p:nvPr userDrawn="1"/>
        </p:nvSpPr>
        <p:spPr>
          <a:xfrm>
            <a:off x="865632" y="1960880"/>
            <a:ext cx="9144000" cy="352552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i="0" kern="1200" baseline="0">
                <a:solidFill>
                  <a:schemeClr val="accent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>
                <a:solidFill>
                  <a:schemeClr val="accent3"/>
                </a:solidFill>
              </a:rPr>
              <a:t>Salling Group </a:t>
            </a:r>
            <a:br>
              <a:rPr lang="da-DK" dirty="0">
                <a:solidFill>
                  <a:schemeClr val="accent3"/>
                </a:solidFill>
              </a:rPr>
            </a:br>
            <a:r>
              <a:rPr lang="da-DK" dirty="0">
                <a:solidFill>
                  <a:schemeClr val="accent3"/>
                </a:solidFill>
              </a:rPr>
              <a:t>Rosbjergvej 33 </a:t>
            </a:r>
            <a:br>
              <a:rPr lang="da-DK" dirty="0">
                <a:solidFill>
                  <a:schemeClr val="accent3"/>
                </a:solidFill>
              </a:rPr>
            </a:br>
            <a:r>
              <a:rPr lang="da-DK" dirty="0">
                <a:solidFill>
                  <a:schemeClr val="accent3"/>
                </a:solidFill>
              </a:rPr>
              <a:t>8220 Brabrand </a:t>
            </a:r>
            <a:br>
              <a:rPr lang="da-DK" dirty="0">
                <a:solidFill>
                  <a:schemeClr val="accent3"/>
                </a:solidFill>
              </a:rPr>
            </a:br>
            <a:r>
              <a:rPr lang="da-DK" dirty="0">
                <a:solidFill>
                  <a:schemeClr val="accent3"/>
                </a:solidFill>
              </a:rPr>
              <a:t>+45 8778 5000 </a:t>
            </a:r>
            <a:br>
              <a:rPr lang="da-DK" dirty="0">
                <a:solidFill>
                  <a:schemeClr val="accent3"/>
                </a:solidFill>
              </a:rPr>
            </a:br>
            <a:r>
              <a:rPr lang="da-DK" dirty="0">
                <a:solidFill>
                  <a:schemeClr val="accent3"/>
                </a:solidFill>
              </a:rPr>
              <a:t>sallinggroup.com</a:t>
            </a:r>
            <a:endParaRPr lang="en-GB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68979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41" userDrawn="1">
          <p15:clr>
            <a:srgbClr val="FBAE40"/>
          </p15:clr>
        </p15:guide>
        <p15:guide id="2" pos="597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- Logo gree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Billede 19">
            <a:extLst>
              <a:ext uri="{FF2B5EF4-FFF2-40B4-BE49-F238E27FC236}">
                <a16:creationId xmlns:a16="http://schemas.microsoft.com/office/drawing/2014/main" id="{69EF2480-80BF-9F4A-AF9D-10461C14651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50989" y="2672064"/>
            <a:ext cx="8004561" cy="1513871"/>
          </a:xfrm>
          <a:prstGeom prst="rect">
            <a:avLst/>
          </a:prstGeom>
        </p:spPr>
      </p:pic>
      <p:sp>
        <p:nvSpPr>
          <p:cNvPr id="7" name="Undertitel 2">
            <a:extLst>
              <a:ext uri="{FF2B5EF4-FFF2-40B4-BE49-F238E27FC236}">
                <a16:creationId xmlns:a16="http://schemas.microsoft.com/office/drawing/2014/main" id="{BEF06A6D-8355-C141-87AA-54DF113658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76379" y="6154360"/>
            <a:ext cx="6922905" cy="334223"/>
          </a:xfrm>
          <a:prstGeom prst="rect">
            <a:avLst/>
          </a:prstGeom>
        </p:spPr>
        <p:txBody>
          <a:bodyPr anchor="ctr" anchorCtr="0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subheadline</a:t>
            </a:r>
            <a:r>
              <a:rPr lang="da-DK" dirty="0"/>
              <a:t> </a:t>
            </a:r>
            <a:r>
              <a:rPr lang="da-DK" dirty="0" err="1"/>
              <a:t>here</a:t>
            </a:r>
            <a:endParaRPr lang="en-GB" dirty="0"/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C6758710-B2E4-D441-8CB7-6E277FFE8BE5}"/>
              </a:ext>
            </a:extLst>
          </p:cNvPr>
          <p:cNvSpPr/>
          <p:nvPr userDrawn="1"/>
        </p:nvSpPr>
        <p:spPr>
          <a:xfrm>
            <a:off x="3683000" y="6228162"/>
            <a:ext cx="637200" cy="1866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839530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32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- Logo yellow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Billede 19">
            <a:extLst>
              <a:ext uri="{FF2B5EF4-FFF2-40B4-BE49-F238E27FC236}">
                <a16:creationId xmlns:a16="http://schemas.microsoft.com/office/drawing/2014/main" id="{69EF2480-80BF-9F4A-AF9D-10461C14651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50989" y="2672064"/>
            <a:ext cx="8004561" cy="1513871"/>
          </a:xfrm>
          <a:prstGeom prst="rect">
            <a:avLst/>
          </a:prstGeom>
        </p:spPr>
      </p:pic>
      <p:sp>
        <p:nvSpPr>
          <p:cNvPr id="5" name="Undertitel 2">
            <a:extLst>
              <a:ext uri="{FF2B5EF4-FFF2-40B4-BE49-F238E27FC236}">
                <a16:creationId xmlns:a16="http://schemas.microsoft.com/office/drawing/2014/main" id="{EF9FC228-5EBA-2A4F-B8F9-CC580BF0764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76379" y="6154360"/>
            <a:ext cx="6922905" cy="334223"/>
          </a:xfrm>
          <a:prstGeom prst="rect">
            <a:avLst/>
          </a:prstGeom>
        </p:spPr>
        <p:txBody>
          <a:bodyPr anchor="ctr" anchorCtr="0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subheadline</a:t>
            </a:r>
            <a:r>
              <a:rPr lang="da-DK" dirty="0"/>
              <a:t> </a:t>
            </a:r>
            <a:r>
              <a:rPr lang="da-DK" dirty="0" err="1"/>
              <a:t>here</a:t>
            </a:r>
            <a:endParaRPr lang="en-GB" dirty="0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DBECBE96-3929-8942-BE44-0C9DAF658CD0}"/>
              </a:ext>
            </a:extLst>
          </p:cNvPr>
          <p:cNvSpPr/>
          <p:nvPr userDrawn="1"/>
        </p:nvSpPr>
        <p:spPr>
          <a:xfrm>
            <a:off x="3683000" y="6228162"/>
            <a:ext cx="637200" cy="1866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2963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32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- Logo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Billede 19">
            <a:extLst>
              <a:ext uri="{FF2B5EF4-FFF2-40B4-BE49-F238E27FC236}">
                <a16:creationId xmlns:a16="http://schemas.microsoft.com/office/drawing/2014/main" id="{69EF2480-80BF-9F4A-AF9D-10461C14651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50989" y="2672064"/>
            <a:ext cx="8004561" cy="1513871"/>
          </a:xfrm>
          <a:prstGeom prst="rect">
            <a:avLst/>
          </a:prstGeom>
        </p:spPr>
      </p:pic>
      <p:sp>
        <p:nvSpPr>
          <p:cNvPr id="7" name="Undertitel 2">
            <a:extLst>
              <a:ext uri="{FF2B5EF4-FFF2-40B4-BE49-F238E27FC236}">
                <a16:creationId xmlns:a16="http://schemas.microsoft.com/office/drawing/2014/main" id="{C3F388B0-85A9-EC4E-BE04-68D35A9BA10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76379" y="6154360"/>
            <a:ext cx="6922905" cy="334223"/>
          </a:xfrm>
          <a:prstGeom prst="rect">
            <a:avLst/>
          </a:prstGeom>
        </p:spPr>
        <p:txBody>
          <a:bodyPr anchor="ctr" anchorCtr="0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subheadline</a:t>
            </a:r>
            <a:r>
              <a:rPr lang="da-DK" dirty="0"/>
              <a:t> </a:t>
            </a:r>
            <a:r>
              <a:rPr lang="da-DK" dirty="0" err="1"/>
              <a:t>here</a:t>
            </a:r>
            <a:endParaRPr lang="en-GB" dirty="0"/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4059415A-6368-5B4A-9CDD-884E0C1B6E8B}"/>
              </a:ext>
            </a:extLst>
          </p:cNvPr>
          <p:cNvSpPr/>
          <p:nvPr userDrawn="1"/>
        </p:nvSpPr>
        <p:spPr>
          <a:xfrm>
            <a:off x="3683000" y="6228162"/>
            <a:ext cx="637200" cy="1866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61742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3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Front page - Text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02890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1400" b="0" i="0" baseline="0" dirty="0"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956F5B9-6FD6-414F-8E9D-72AA354A8A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8200" y="2036762"/>
            <a:ext cx="9144000" cy="1754326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algn="l">
              <a:defRPr sz="6000" b="0" i="0">
                <a:solidFill>
                  <a:schemeClr val="tx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headline</a:t>
            </a:r>
            <a:r>
              <a:rPr lang="da-DK" dirty="0"/>
              <a:t> in </a:t>
            </a:r>
            <a:r>
              <a:rPr lang="da-DK" dirty="0" err="1"/>
              <a:t>two</a:t>
            </a:r>
            <a:r>
              <a:rPr lang="da-DK" dirty="0"/>
              <a:t> lines </a:t>
            </a:r>
            <a:r>
              <a:rPr lang="da-DK" dirty="0" err="1"/>
              <a:t>here</a:t>
            </a:r>
            <a:endParaRPr lang="en-GB" dirty="0"/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1F35D92F-7C28-9940-A8CB-7DCB03C00B8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8200" y="38306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subheadline</a:t>
            </a:r>
            <a:r>
              <a:rPr lang="da-DK" dirty="0"/>
              <a:t> </a:t>
            </a:r>
            <a:r>
              <a:rPr lang="da-DK" dirty="0" err="1"/>
              <a:t>here</a:t>
            </a:r>
            <a:endParaRPr lang="en-GB" dirty="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11DD113E-87CC-3A45-8FE3-80B501F00035}"/>
              </a:ext>
            </a:extLst>
          </p:cNvPr>
          <p:cNvSpPr/>
          <p:nvPr userDrawn="1"/>
        </p:nvSpPr>
        <p:spPr>
          <a:xfrm>
            <a:off x="938784" y="1687473"/>
            <a:ext cx="637200" cy="18661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1CBC4457-335F-EE46-A7EA-F03C1197E8D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47738" y="6264835"/>
            <a:ext cx="1065600" cy="200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83977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9" userDrawn="1">
          <p15:clr>
            <a:srgbClr val="FBAE40"/>
          </p15:clr>
        </p15:guide>
        <p15:guide id="2" pos="52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Front page - Text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56F5B9-6FD6-414F-8E9D-72AA354A8A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8200" y="2036762"/>
            <a:ext cx="9144000" cy="1754326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algn="l">
              <a:defRPr sz="6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headline</a:t>
            </a:r>
            <a:r>
              <a:rPr lang="da-DK" dirty="0"/>
              <a:t> in </a:t>
            </a:r>
            <a:r>
              <a:rPr lang="da-DK" dirty="0" err="1"/>
              <a:t>two</a:t>
            </a:r>
            <a:r>
              <a:rPr lang="da-DK" dirty="0"/>
              <a:t> lines </a:t>
            </a:r>
            <a:r>
              <a:rPr lang="da-DK" dirty="0" err="1"/>
              <a:t>here</a:t>
            </a:r>
            <a:endParaRPr lang="en-GB" dirty="0"/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1F35D92F-7C28-9940-A8CB-7DCB03C00B8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8200" y="38306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subheadline</a:t>
            </a:r>
            <a:r>
              <a:rPr lang="da-DK" dirty="0"/>
              <a:t> </a:t>
            </a:r>
            <a:r>
              <a:rPr lang="da-DK" dirty="0" err="1"/>
              <a:t>here</a:t>
            </a:r>
            <a:endParaRPr lang="en-GB" dirty="0"/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0619B1F4-6D5A-D345-9062-F3357B9948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9600" y="6264000"/>
            <a:ext cx="1063752" cy="201251"/>
          </a:xfrm>
          <a:prstGeom prst="rect">
            <a:avLst/>
          </a:prstGeom>
        </p:spPr>
      </p:pic>
      <p:sp>
        <p:nvSpPr>
          <p:cNvPr id="9" name="Rektangel 8">
            <a:extLst>
              <a:ext uri="{FF2B5EF4-FFF2-40B4-BE49-F238E27FC236}">
                <a16:creationId xmlns:a16="http://schemas.microsoft.com/office/drawing/2014/main" id="{07FD87F8-EA4D-A847-B58E-D5B9CFF6EBBD}"/>
              </a:ext>
            </a:extLst>
          </p:cNvPr>
          <p:cNvSpPr/>
          <p:nvPr userDrawn="1"/>
        </p:nvSpPr>
        <p:spPr>
          <a:xfrm>
            <a:off x="938784" y="1687473"/>
            <a:ext cx="637200" cy="18661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75850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9" userDrawn="1">
          <p15:clr>
            <a:srgbClr val="FBAE40"/>
          </p15:clr>
        </p15:guide>
        <p15:guide id="2" pos="52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Front page - Text gree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56F5B9-6FD6-414F-8E9D-72AA354A8A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8200" y="2036762"/>
            <a:ext cx="9144000" cy="1754326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algn="l">
              <a:defRPr sz="60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headline</a:t>
            </a:r>
            <a:r>
              <a:rPr lang="da-DK" dirty="0"/>
              <a:t> in </a:t>
            </a:r>
            <a:r>
              <a:rPr lang="da-DK" dirty="0" err="1"/>
              <a:t>two</a:t>
            </a:r>
            <a:r>
              <a:rPr lang="da-DK" dirty="0"/>
              <a:t> lines </a:t>
            </a:r>
            <a:r>
              <a:rPr lang="da-DK" dirty="0" err="1"/>
              <a:t>here</a:t>
            </a:r>
            <a:endParaRPr lang="en-GB" dirty="0"/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1F35D92F-7C28-9940-A8CB-7DCB03C00B8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65632" y="38306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subheadline</a:t>
            </a:r>
            <a:r>
              <a:rPr lang="da-DK" dirty="0"/>
              <a:t> </a:t>
            </a:r>
            <a:r>
              <a:rPr lang="da-DK" dirty="0" err="1"/>
              <a:t>here</a:t>
            </a:r>
            <a:endParaRPr lang="en-GB" dirty="0"/>
          </a:p>
        </p:txBody>
      </p:sp>
      <p:pic>
        <p:nvPicPr>
          <p:cNvPr id="7" name="Billed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8784" y="6264000"/>
            <a:ext cx="1065600" cy="201600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B8E5D77C-1B97-4047-979B-BC6695BE4534}"/>
              </a:ext>
            </a:extLst>
          </p:cNvPr>
          <p:cNvSpPr/>
          <p:nvPr userDrawn="1"/>
        </p:nvSpPr>
        <p:spPr>
          <a:xfrm>
            <a:off x="938784" y="1687473"/>
            <a:ext cx="637200" cy="1866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38771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9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page -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28036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3A4DB2D-8D09-2042-AB04-DA78A45CFB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79418"/>
            <a:ext cx="10515600" cy="4478482"/>
          </a:xfrm>
          <a:prstGeom prst="rect">
            <a:avLst/>
          </a:prstGeom>
        </p:spPr>
        <p:txBody>
          <a:bodyPr/>
          <a:lstStyle>
            <a:lvl1pPr marL="228600" indent="-228600"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Arial" panose="020B0604020202020204" pitchFamily="34" charset="0"/>
              <a:buChar char="•"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Arial" panose="020B0604020202020204" pitchFamily="34" charset="0"/>
              <a:buChar char="•"/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 dirty="0"/>
              <a:t>Rediger typografien i masteren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GB" dirty="0"/>
          </a:p>
        </p:txBody>
      </p:sp>
      <p:sp>
        <p:nvSpPr>
          <p:cNvPr id="20" name="Title 1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Insert headline here</a:t>
            </a:r>
            <a:endParaRPr lang="en-GB" dirty="0"/>
          </a:p>
        </p:txBody>
      </p:sp>
      <p:sp>
        <p:nvSpPr>
          <p:cNvPr id="7" name="Pladsholder til slidenummer 5"/>
          <p:cNvSpPr>
            <a:spLocks noGrp="1"/>
          </p:cNvSpPr>
          <p:nvPr>
            <p:ph type="sldNum" sz="quarter" idx="4"/>
          </p:nvPr>
        </p:nvSpPr>
        <p:spPr>
          <a:xfrm>
            <a:off x="10705744" y="6227064"/>
            <a:ext cx="545592" cy="226187"/>
          </a:xfrm>
          <a:prstGeom prst="rect">
            <a:avLst/>
          </a:prstGeom>
        </p:spPr>
        <p:txBody>
          <a:bodyPr/>
          <a:lstStyle>
            <a:lvl1pPr algn="r">
              <a:defRPr sz="1200" b="1">
                <a:solidFill>
                  <a:schemeClr val="tx1"/>
                </a:solidFill>
              </a:defRPr>
            </a:lvl1pPr>
          </a:lstStyle>
          <a:p>
            <a:fld id="{51066E4D-1691-9E41-8A07-CA7CFF46E6E6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65544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16" userDrawn="1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981" userDrawn="1">
          <p15:clr>
            <a:srgbClr val="FBAE40"/>
          </p15:clr>
        </p15:guide>
        <p15:guide id="4" pos="7151" userDrawn="1">
          <p15:clr>
            <a:srgbClr val="FBAE40"/>
          </p15:clr>
        </p15:guide>
        <p15:guide id="5" pos="529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11.xml"/><Relationship Id="rId7" Type="http://schemas.openxmlformats.org/officeDocument/2006/relationships/tags" Target="../tags/tag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heme" Target="../theme/theme2.xml"/><Relationship Id="rId11" Type="http://schemas.openxmlformats.org/officeDocument/2006/relationships/image" Target="../media/image4.png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2.xml"/><Relationship Id="rId9" Type="http://schemas.openxmlformats.org/officeDocument/2006/relationships/oleObject" Target="../embeddings/oleObject3.bin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oleObject" Target="../embeddings/oleObject6.bin"/><Relationship Id="rId5" Type="http://schemas.openxmlformats.org/officeDocument/2006/relationships/tags" Target="../tags/tag9.xml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4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7331402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16" imgH="216" progId="TCLayout.ActiveDocument.1">
                  <p:embed/>
                </p:oleObj>
              </mc:Choice>
              <mc:Fallback>
                <p:oleObj name="think-cell Slide" r:id="rId11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048804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4" r:id="rId2"/>
    <p:sldLayoutId id="2147483725" r:id="rId3"/>
    <p:sldLayoutId id="2147483649" r:id="rId4"/>
    <p:sldLayoutId id="2147483726" r:id="rId5"/>
    <p:sldLayoutId id="2147483709" r:id="rId6"/>
    <p:sldLayoutId id="2147483708" r:id="rId7"/>
    <p:sldLayoutId id="2147483710" r:id="rId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9899426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216" imgH="216" progId="TCLayout.ActiveDocument.1">
                  <p:embed/>
                </p:oleObj>
              </mc:Choice>
              <mc:Fallback>
                <p:oleObj name="think-cell Slide" r:id="rId9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1400" b="0" i="0" baseline="0" dirty="0" err="1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DD5C6CCA-A5BF-D84A-B70E-FFC62F945CE9}"/>
              </a:ext>
            </a:extLst>
          </p:cNvPr>
          <p:cNvSpPr/>
          <p:nvPr userDrawn="1"/>
        </p:nvSpPr>
        <p:spPr>
          <a:xfrm>
            <a:off x="10090495" y="6271487"/>
            <a:ext cx="637200" cy="18661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accent3"/>
              </a:solidFill>
            </a:endParaRP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8CE85BD2-CC0A-DB42-B43D-115CF913C23B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947738" y="6264835"/>
            <a:ext cx="1065600" cy="200765"/>
          </a:xfrm>
          <a:prstGeom prst="rect">
            <a:avLst/>
          </a:prstGeom>
        </p:spPr>
      </p:pic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838800" y="365125"/>
            <a:ext cx="10515000" cy="10451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Insert headline here</a:t>
            </a:r>
            <a:endParaRPr lang="en-GB" dirty="0"/>
          </a:p>
        </p:txBody>
      </p:sp>
      <p:sp>
        <p:nvSpPr>
          <p:cNvPr id="7" name="Pladsholder til slidenummer 5"/>
          <p:cNvSpPr>
            <a:spLocks noGrp="1"/>
          </p:cNvSpPr>
          <p:nvPr>
            <p:ph type="sldNum" sz="quarter" idx="4"/>
          </p:nvPr>
        </p:nvSpPr>
        <p:spPr>
          <a:xfrm>
            <a:off x="10705744" y="6227064"/>
            <a:ext cx="545592" cy="226187"/>
          </a:xfrm>
          <a:prstGeom prst="rect">
            <a:avLst/>
          </a:prstGeom>
        </p:spPr>
        <p:txBody>
          <a:bodyPr/>
          <a:lstStyle>
            <a:lvl1pPr algn="r">
              <a:defRPr sz="1200" b="1">
                <a:solidFill>
                  <a:schemeClr val="tx1"/>
                </a:solidFill>
              </a:defRPr>
            </a:lvl1pPr>
          </a:lstStyle>
          <a:p>
            <a:fld id="{51066E4D-1691-9E41-8A07-CA7CFF46E6E6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67785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1" r:id="rId2"/>
    <p:sldLayoutId id="2147483690" r:id="rId3"/>
    <p:sldLayoutId id="2147483692" r:id="rId4"/>
    <p:sldLayoutId id="2147483693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GB" sz="3200" b="0" i="0" kern="1200" baseline="0" dirty="0">
          <a:solidFill>
            <a:schemeClr val="tx1"/>
          </a:solidFill>
          <a:latin typeface="Arial Black" panose="020B0604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641947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Billede 3">
            <a:extLst>
              <a:ext uri="{FF2B5EF4-FFF2-40B4-BE49-F238E27FC236}">
                <a16:creationId xmlns:a16="http://schemas.microsoft.com/office/drawing/2014/main" id="{7BFEEE63-D1C9-644C-B961-F06F926E89C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47738" y="6264835"/>
            <a:ext cx="1065600" cy="200765"/>
          </a:xfrm>
          <a:prstGeom prst="rect">
            <a:avLst/>
          </a:prstGeom>
        </p:spPr>
      </p:pic>
      <p:sp>
        <p:nvSpPr>
          <p:cNvPr id="5" name="Pladsholder til slidenummer 5"/>
          <p:cNvSpPr>
            <a:spLocks noGrp="1"/>
          </p:cNvSpPr>
          <p:nvPr>
            <p:ph type="sldNum" sz="quarter" idx="4"/>
          </p:nvPr>
        </p:nvSpPr>
        <p:spPr>
          <a:xfrm>
            <a:off x="10705744" y="6227064"/>
            <a:ext cx="545592" cy="226187"/>
          </a:xfrm>
          <a:prstGeom prst="rect">
            <a:avLst/>
          </a:prstGeom>
        </p:spPr>
        <p:txBody>
          <a:bodyPr/>
          <a:lstStyle>
            <a:lvl1pPr algn="r">
              <a:defRPr sz="1200" b="1">
                <a:solidFill>
                  <a:schemeClr val="tx1"/>
                </a:solidFill>
              </a:defRPr>
            </a:lvl1pPr>
          </a:lstStyle>
          <a:p>
            <a:fld id="{51066E4D-1691-9E41-8A07-CA7CFF46E6E6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2303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nummer 5"/>
          <p:cNvSpPr>
            <a:spLocks noGrp="1"/>
          </p:cNvSpPr>
          <p:nvPr>
            <p:ph type="sldNum" sz="quarter" idx="4"/>
          </p:nvPr>
        </p:nvSpPr>
        <p:spPr>
          <a:xfrm>
            <a:off x="10705744" y="6227064"/>
            <a:ext cx="545592" cy="226187"/>
          </a:xfrm>
          <a:prstGeom prst="rect">
            <a:avLst/>
          </a:prstGeom>
        </p:spPr>
        <p:txBody>
          <a:bodyPr/>
          <a:lstStyle>
            <a:lvl1pPr algn="r">
              <a:defRPr sz="1200" b="1">
                <a:solidFill>
                  <a:schemeClr val="tx1"/>
                </a:solidFill>
              </a:defRPr>
            </a:lvl1pPr>
          </a:lstStyle>
          <a:p>
            <a:fld id="{51066E4D-1691-9E41-8A07-CA7CFF46E6E6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076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694" r:id="rId2"/>
    <p:sldLayoutId id="2147483733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Billede 4">
            <a:extLst>
              <a:ext uri="{FF2B5EF4-FFF2-40B4-BE49-F238E27FC236}">
                <a16:creationId xmlns:a16="http://schemas.microsoft.com/office/drawing/2014/main" id="{038BA93E-C61C-7044-8901-794CDFD4174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47738" y="6264835"/>
            <a:ext cx="1065600" cy="200765"/>
          </a:xfrm>
          <a:prstGeom prst="rect">
            <a:avLst/>
          </a:prstGeom>
        </p:spPr>
      </p:pic>
      <p:sp>
        <p:nvSpPr>
          <p:cNvPr id="4" name="Pladsholder til slidenummer 5"/>
          <p:cNvSpPr>
            <a:spLocks noGrp="1"/>
          </p:cNvSpPr>
          <p:nvPr>
            <p:ph type="sldNum" sz="quarter" idx="4"/>
          </p:nvPr>
        </p:nvSpPr>
        <p:spPr>
          <a:xfrm>
            <a:off x="10705744" y="6227064"/>
            <a:ext cx="545592" cy="226187"/>
          </a:xfrm>
          <a:prstGeom prst="rect">
            <a:avLst/>
          </a:prstGeom>
        </p:spPr>
        <p:txBody>
          <a:bodyPr/>
          <a:lstStyle>
            <a:lvl1pPr algn="r">
              <a:defRPr sz="1200" b="1">
                <a:solidFill>
                  <a:schemeClr val="tx1"/>
                </a:solidFill>
              </a:defRPr>
            </a:lvl1pPr>
          </a:lstStyle>
          <a:p>
            <a:fld id="{51066E4D-1691-9E41-8A07-CA7CFF46E6E6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359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8" r:id="rId2"/>
    <p:sldLayoutId id="2147483747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57369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indhold 6">
            <a:extLst>
              <a:ext uri="{FF2B5EF4-FFF2-40B4-BE49-F238E27FC236}">
                <a16:creationId xmlns:a16="http://schemas.microsoft.com/office/drawing/2014/main" id="{B79A863E-117F-7C08-272A-34A58016A28D}"/>
              </a:ext>
            </a:extLst>
          </p:cNvPr>
          <p:cNvSpPr>
            <a:spLocks noGrp="1"/>
          </p:cNvSpPr>
          <p:nvPr>
            <p:ph idx="1"/>
          </p:nvPr>
        </p:nvSpPr>
        <p:spPr>
          <a:solidFill>
            <a:schemeClr val="bg2">
              <a:lumMod val="75000"/>
            </a:schemeClr>
          </a:solidFill>
        </p:spPr>
        <p:txBody>
          <a:bodyPr anchor="ctr"/>
          <a:lstStyle/>
          <a:p>
            <a:r>
              <a:rPr lang="da-DK" sz="6000" i="1" dirty="0"/>
              <a:t>DCH Fladså bestyrelsesmøde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0683ECD0-E06F-3C32-2F2E-0794ADDBDBCD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chemeClr val="bg2">
              <a:lumMod val="75000"/>
            </a:schemeClr>
          </a:solidFill>
        </p:spPr>
        <p:txBody>
          <a:bodyPr/>
          <a:lstStyle/>
          <a:p>
            <a:r>
              <a:rPr lang="da-DK" dirty="0"/>
              <a:t>28.01.2025</a:t>
            </a:r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7E29D158-6902-00CC-3E73-31B69452C0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1066E4D-1691-9E41-8A07-CA7CFF46E6E6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042811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BDF6BB28-FB06-4259-A600-ABC0F25E39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1066E4D-1691-9E41-8A07-CA7CFF46E6E6}" type="slidenum">
              <a:rPr lang="en-GB" smtClean="0"/>
              <a:pPr/>
              <a:t>2</a:t>
            </a:fld>
            <a:endParaRPr lang="en-GB" dirty="0"/>
          </a:p>
        </p:txBody>
      </p:sp>
      <p:graphicFrame>
        <p:nvGraphicFramePr>
          <p:cNvPr id="6" name="Pladsholder til indhold 4">
            <a:extLst>
              <a:ext uri="{FF2B5EF4-FFF2-40B4-BE49-F238E27FC236}">
                <a16:creationId xmlns:a16="http://schemas.microsoft.com/office/drawing/2014/main" id="{2B87A6E1-26D2-4D0A-8263-02D34C6CD51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13374246"/>
              </p:ext>
            </p:extLst>
          </p:nvPr>
        </p:nvGraphicFramePr>
        <p:xfrm>
          <a:off x="778560" y="140677"/>
          <a:ext cx="10515601" cy="952595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3309730">
                  <a:extLst>
                    <a:ext uri="{9D8B030D-6E8A-4147-A177-3AD203B41FA5}">
                      <a16:colId xmlns:a16="http://schemas.microsoft.com/office/drawing/2014/main" val="2867405064"/>
                    </a:ext>
                  </a:extLst>
                </a:gridCol>
                <a:gridCol w="1166192">
                  <a:extLst>
                    <a:ext uri="{9D8B030D-6E8A-4147-A177-3AD203B41FA5}">
                      <a16:colId xmlns:a16="http://schemas.microsoft.com/office/drawing/2014/main" val="1909667729"/>
                    </a:ext>
                  </a:extLst>
                </a:gridCol>
                <a:gridCol w="963438">
                  <a:extLst>
                    <a:ext uri="{9D8B030D-6E8A-4147-A177-3AD203B41FA5}">
                      <a16:colId xmlns:a16="http://schemas.microsoft.com/office/drawing/2014/main" val="3983769350"/>
                    </a:ext>
                  </a:extLst>
                </a:gridCol>
                <a:gridCol w="3179298">
                  <a:extLst>
                    <a:ext uri="{9D8B030D-6E8A-4147-A177-3AD203B41FA5}">
                      <a16:colId xmlns:a16="http://schemas.microsoft.com/office/drawing/2014/main" val="3855851844"/>
                    </a:ext>
                  </a:extLst>
                </a:gridCol>
                <a:gridCol w="1025612">
                  <a:extLst>
                    <a:ext uri="{9D8B030D-6E8A-4147-A177-3AD203B41FA5}">
                      <a16:colId xmlns:a16="http://schemas.microsoft.com/office/drawing/2014/main" val="141893826"/>
                    </a:ext>
                  </a:extLst>
                </a:gridCol>
                <a:gridCol w="871331">
                  <a:extLst>
                    <a:ext uri="{9D8B030D-6E8A-4147-A177-3AD203B41FA5}">
                      <a16:colId xmlns:a16="http://schemas.microsoft.com/office/drawing/2014/main" val="1545841543"/>
                    </a:ext>
                  </a:extLst>
                </a:gridCol>
              </a:tblGrid>
              <a:tr h="755298">
                <a:tc>
                  <a:txBody>
                    <a:bodyPr/>
                    <a:lstStyle/>
                    <a:p>
                      <a:r>
                        <a:rPr lang="da-DK" sz="1200" dirty="0"/>
                        <a:t>Emne</a:t>
                      </a:r>
                    </a:p>
                  </a:txBody>
                  <a:tcPr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Forberedelse/beslutning/ orientering</a:t>
                      </a:r>
                    </a:p>
                  </a:txBody>
                  <a:tcPr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Anslået tid</a:t>
                      </a:r>
                    </a:p>
                  </a:txBody>
                  <a:tcPr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Referat</a:t>
                      </a:r>
                    </a:p>
                  </a:txBody>
                  <a:tcPr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Ansvarlig</a:t>
                      </a:r>
                    </a:p>
                  </a:txBody>
                  <a:tcPr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Deadline </a:t>
                      </a:r>
                    </a:p>
                  </a:txBody>
                  <a:tcPr>
                    <a:solidFill>
                      <a:schemeClr val="bg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2685770"/>
                  </a:ext>
                </a:extLst>
              </a:tr>
              <a:tr h="723932">
                <a:tc>
                  <a:txBody>
                    <a:bodyPr/>
                    <a:lstStyle/>
                    <a:p>
                      <a:pPr rtl="0"/>
                      <a:r>
                        <a:rPr lang="da-DK" sz="12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onstituering af bestyrelsen</a:t>
                      </a:r>
                    </a:p>
                    <a:p>
                      <a:pPr rtl="0"/>
                      <a:r>
                        <a:rPr lang="da-DK" sz="12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kretær, næstformand, bestyrelsesmedlem</a:t>
                      </a: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Beslutning </a:t>
                      </a: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20 min</a:t>
                      </a: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Birthe valgtes til næstformand, Lisbeth som bestyrelsesmedlem og Gerner valgtes til sekretær</a:t>
                      </a: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>
                          <a:latin typeface="+mn-lt"/>
                        </a:rPr>
                        <a:t>Jeanne</a:t>
                      </a: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200" dirty="0">
                        <a:latin typeface="+mn-lt"/>
                      </a:endParaRP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0974539"/>
                  </a:ext>
                </a:extLst>
              </a:tr>
              <a:tr h="757533">
                <a:tc>
                  <a:txBody>
                    <a:bodyPr/>
                    <a:lstStyle/>
                    <a:p>
                      <a:pPr rtl="0"/>
                      <a:r>
                        <a:rPr lang="da-DK" sz="12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ælles arbejdsmetode, vi bakker hinanden og klubben positivt op.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Orientering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10 min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Vigtigt at respektere fælles beslutninger i bestyrelsen, uanset eventuelle uenigheder internt i bestyrelsen. Denne linje er der fuld enighed om.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100" dirty="0"/>
                        <a:t>Jeanne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100" dirty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7877190"/>
                  </a:ext>
                </a:extLst>
              </a:tr>
              <a:tr h="723932">
                <a:tc>
                  <a:txBody>
                    <a:bodyPr/>
                    <a:lstStyle/>
                    <a:p>
                      <a:pPr rtl="0"/>
                      <a:r>
                        <a:rPr lang="da-DK" sz="12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eskrivelse af bestyrelse, samt billede til FB og klubmodul</a:t>
                      </a: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Forbered et par ord om jer selv.</a:t>
                      </a: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20 min</a:t>
                      </a: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Klubmodul blev forevist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12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Beskrivelse af bestyrelse sendes til Margit, som lægger det på klubmodulet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12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Kort vending omkring billeder af bestyrelsen – OK til fællesbilleder.</a:t>
                      </a: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100" dirty="0"/>
                        <a:t>Margit</a:t>
                      </a: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100" dirty="0"/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9828686"/>
                  </a:ext>
                </a:extLst>
              </a:tr>
              <a:tr h="723932">
                <a:tc>
                  <a:txBody>
                    <a:bodyPr/>
                    <a:lstStyle/>
                    <a:p>
                      <a:r>
                        <a:rPr lang="da-DK" sz="1200" i="0" dirty="0">
                          <a:latin typeface="+mn-lt"/>
                        </a:rPr>
                        <a:t>Gennemgang af vedtægter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>
                          <a:latin typeface="+mn-lt"/>
                        </a:rPr>
                        <a:t>Beslutning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>
                          <a:latin typeface="+mn-lt"/>
                        </a:rPr>
                        <a:t>20 min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>
                          <a:latin typeface="+mn-lt"/>
                        </a:rPr>
                        <a:t>Birthe gennemskriver vedtægterne med særlig fokus på punkterne 5, 6 og 8. Nyt udkast rundsendes til godkendelse hos den samlede bestyrelse.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>
                          <a:latin typeface="+mn-lt"/>
                        </a:rPr>
                        <a:t>Birthe og Jeanne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100" dirty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7925487"/>
                  </a:ext>
                </a:extLst>
              </a:tr>
              <a:tr h="723932">
                <a:tc>
                  <a:txBody>
                    <a:bodyPr/>
                    <a:lstStyle/>
                    <a:p>
                      <a:r>
                        <a:rPr lang="da-DK" sz="1200" dirty="0">
                          <a:latin typeface="+mn-lt"/>
                        </a:rPr>
                        <a:t>Ansvarsområder, fællesmail, hjemmeside, klubmodul, </a:t>
                      </a:r>
                      <a:r>
                        <a:rPr lang="da-DK" sz="1200" dirty="0" err="1">
                          <a:latin typeface="+mn-lt"/>
                        </a:rPr>
                        <a:t>facebook</a:t>
                      </a:r>
                      <a:endParaRPr lang="da-DK" sz="1200" dirty="0">
                        <a:latin typeface="+mn-lt"/>
                      </a:endParaRP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>
                          <a:latin typeface="+mn-lt"/>
                        </a:rPr>
                        <a:t>Beslutning</a:t>
                      </a:r>
                      <a:endParaRPr lang="da-DK" sz="1200" dirty="0">
                        <a:latin typeface="+mn-lt"/>
                      </a:endParaRP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>
                          <a:latin typeface="+mn-lt"/>
                        </a:rPr>
                        <a:t>15 min</a:t>
                      </a: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>
                          <a:latin typeface="+mn-lt"/>
                        </a:rPr>
                        <a:t>Margit sidder pt med alt – byrden skal spredes lidt mere ud.</a:t>
                      </a:r>
                    </a:p>
                    <a:p>
                      <a:r>
                        <a:rPr lang="da-DK" sz="1200" b="1" dirty="0">
                          <a:latin typeface="+mn-lt"/>
                        </a:rPr>
                        <a:t>Fællesmail: </a:t>
                      </a:r>
                      <a:r>
                        <a:rPr lang="da-DK" sz="1200" dirty="0">
                          <a:latin typeface="+mn-lt"/>
                        </a:rPr>
                        <a:t>Margit – læses mindst 1 gang pr uge. Mulighed for at andre læser med i ferieperioder o.l. </a:t>
                      </a:r>
                    </a:p>
                    <a:p>
                      <a:r>
                        <a:rPr lang="da-DK" sz="1200" b="1" dirty="0">
                          <a:latin typeface="+mn-lt"/>
                        </a:rPr>
                        <a:t>Klubmodul: </a:t>
                      </a:r>
                      <a:r>
                        <a:rPr lang="da-DK" sz="1200" dirty="0">
                          <a:latin typeface="+mn-lt"/>
                        </a:rPr>
                        <a:t>Margit </a:t>
                      </a:r>
                    </a:p>
                    <a:p>
                      <a:r>
                        <a:rPr lang="da-DK" sz="1200" b="1" dirty="0">
                          <a:latin typeface="+mn-lt"/>
                        </a:rPr>
                        <a:t>Hjemmeside</a:t>
                      </a:r>
                      <a:r>
                        <a:rPr lang="da-DK" sz="1200" dirty="0">
                          <a:latin typeface="+mn-lt"/>
                        </a:rPr>
                        <a:t>: Jeanne</a:t>
                      </a:r>
                    </a:p>
                    <a:p>
                      <a:r>
                        <a:rPr lang="da-DK" sz="1200" b="1" dirty="0">
                          <a:latin typeface="+mn-lt"/>
                        </a:rPr>
                        <a:t>Facebook:</a:t>
                      </a:r>
                      <a:r>
                        <a:rPr lang="da-DK" sz="1200" dirty="0">
                          <a:latin typeface="+mn-lt"/>
                        </a:rPr>
                        <a:t> Jeanne, som DCH</a:t>
                      </a:r>
                    </a:p>
                    <a:p>
                      <a:r>
                        <a:rPr lang="da-DK" sz="1200" dirty="0">
                          <a:latin typeface="+mn-lt"/>
                        </a:rPr>
                        <a:t>Ønske om ”konkurrencemail”. Mulighed under klubmodul – afventer undervisning o.l.</a:t>
                      </a:r>
                    </a:p>
                    <a:p>
                      <a:r>
                        <a:rPr lang="da-DK" sz="1200" dirty="0">
                          <a:latin typeface="+mn-lt"/>
                        </a:rPr>
                        <a:t>Under DCH Danmark ligger ”DCH Håndbogen” https://dch-danmark.dk/cms/Clubdchdanmarkregnskab/ClubImages/DcHH%C3%A5ndbogen2024.6.pdf – bestyrelsen bør orientere sig i denne</a:t>
                      </a:r>
                    </a:p>
                    <a:p>
                      <a:endParaRPr lang="da-DK" sz="1200" dirty="0">
                        <a:latin typeface="+mn-lt"/>
                      </a:endParaRP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200" dirty="0">
                        <a:latin typeface="+mn-lt"/>
                      </a:endParaRP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200" dirty="0">
                        <a:latin typeface="+mn-lt"/>
                      </a:endParaRP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9982442"/>
                  </a:ext>
                </a:extLst>
              </a:tr>
              <a:tr h="723932">
                <a:tc>
                  <a:txBody>
                    <a:bodyPr/>
                    <a:lstStyle/>
                    <a:p>
                      <a:r>
                        <a:rPr lang="da-DK" sz="1200" dirty="0"/>
                        <a:t>Trænerne ønsker niveaudeling på hold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Orientering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15 min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Der ønskes oplæg fra trænerne, som følger DCH-rammer og –regler. </a:t>
                      </a:r>
                    </a:p>
                    <a:p>
                      <a:r>
                        <a:rPr lang="da-DK" sz="1200" dirty="0"/>
                        <a:t>Hjemmesiden bør opdateres til mere retvisende hold 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100" dirty="0"/>
                        <a:t>Jeanne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200" dirty="0">
                        <a:latin typeface="+mn-lt"/>
                      </a:endParaRP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2501145"/>
                  </a:ext>
                </a:extLst>
              </a:tr>
              <a:tr h="723932">
                <a:tc>
                  <a:txBody>
                    <a:bodyPr/>
                    <a:lstStyle/>
                    <a:p>
                      <a:r>
                        <a:rPr lang="da-DK" sz="1200" dirty="0"/>
                        <a:t>Gennemgang af årshjul, Birthe kom med forslag til dette sidste år.</a:t>
                      </a: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Beslutning</a:t>
                      </a: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20 min</a:t>
                      </a: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>
                          <a:latin typeface="+mn-lt"/>
                        </a:rPr>
                        <a:t>Forslag til årshjul gennemgået og justeret. Tilføjes: </a:t>
                      </a:r>
                    </a:p>
                    <a:p>
                      <a:r>
                        <a:rPr lang="da-DK" sz="1200" dirty="0">
                          <a:latin typeface="+mn-lt"/>
                        </a:rPr>
                        <a:t>- Trænermøde med bestyrelsen mere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da-DK" sz="1200" dirty="0">
                          <a:latin typeface="+mn-lt"/>
                        </a:rPr>
                        <a:t>Arbejdsdag x 2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da-DK" sz="1200" dirty="0">
                          <a:latin typeface="+mn-lt"/>
                        </a:rPr>
                        <a:t>Efter godkendelse i bestyrelsen fremsendes til trænerne.</a:t>
                      </a: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>
                          <a:latin typeface="+mn-lt"/>
                        </a:rPr>
                        <a:t>Birthe</a:t>
                      </a: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200" dirty="0">
                        <a:latin typeface="+mn-lt"/>
                      </a:endParaRP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09998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23846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BDF6BB28-FB06-4259-A600-ABC0F25E39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1066E4D-1691-9E41-8A07-CA7CFF46E6E6}" type="slidenum">
              <a:rPr lang="en-GB" smtClean="0"/>
              <a:pPr/>
              <a:t>3</a:t>
            </a:fld>
            <a:endParaRPr lang="en-GB" dirty="0"/>
          </a:p>
        </p:txBody>
      </p:sp>
      <p:graphicFrame>
        <p:nvGraphicFramePr>
          <p:cNvPr id="6" name="Pladsholder til indhold 4">
            <a:extLst>
              <a:ext uri="{FF2B5EF4-FFF2-40B4-BE49-F238E27FC236}">
                <a16:creationId xmlns:a16="http://schemas.microsoft.com/office/drawing/2014/main" id="{2B87A6E1-26D2-4D0A-8263-02D34C6CD51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8528310"/>
              </p:ext>
            </p:extLst>
          </p:nvPr>
        </p:nvGraphicFramePr>
        <p:xfrm>
          <a:off x="778560" y="140677"/>
          <a:ext cx="10515601" cy="6054479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3309730">
                  <a:extLst>
                    <a:ext uri="{9D8B030D-6E8A-4147-A177-3AD203B41FA5}">
                      <a16:colId xmlns:a16="http://schemas.microsoft.com/office/drawing/2014/main" val="2867405064"/>
                    </a:ext>
                  </a:extLst>
                </a:gridCol>
                <a:gridCol w="1166192">
                  <a:extLst>
                    <a:ext uri="{9D8B030D-6E8A-4147-A177-3AD203B41FA5}">
                      <a16:colId xmlns:a16="http://schemas.microsoft.com/office/drawing/2014/main" val="1909667729"/>
                    </a:ext>
                  </a:extLst>
                </a:gridCol>
                <a:gridCol w="963438">
                  <a:extLst>
                    <a:ext uri="{9D8B030D-6E8A-4147-A177-3AD203B41FA5}">
                      <a16:colId xmlns:a16="http://schemas.microsoft.com/office/drawing/2014/main" val="3983769350"/>
                    </a:ext>
                  </a:extLst>
                </a:gridCol>
                <a:gridCol w="3179298">
                  <a:extLst>
                    <a:ext uri="{9D8B030D-6E8A-4147-A177-3AD203B41FA5}">
                      <a16:colId xmlns:a16="http://schemas.microsoft.com/office/drawing/2014/main" val="3855851844"/>
                    </a:ext>
                  </a:extLst>
                </a:gridCol>
                <a:gridCol w="1025612">
                  <a:extLst>
                    <a:ext uri="{9D8B030D-6E8A-4147-A177-3AD203B41FA5}">
                      <a16:colId xmlns:a16="http://schemas.microsoft.com/office/drawing/2014/main" val="141893826"/>
                    </a:ext>
                  </a:extLst>
                </a:gridCol>
                <a:gridCol w="871331">
                  <a:extLst>
                    <a:ext uri="{9D8B030D-6E8A-4147-A177-3AD203B41FA5}">
                      <a16:colId xmlns:a16="http://schemas.microsoft.com/office/drawing/2014/main" val="1545841543"/>
                    </a:ext>
                  </a:extLst>
                </a:gridCol>
              </a:tblGrid>
              <a:tr h="755298">
                <a:tc>
                  <a:txBody>
                    <a:bodyPr/>
                    <a:lstStyle/>
                    <a:p>
                      <a:r>
                        <a:rPr lang="da-DK" sz="1200" dirty="0"/>
                        <a:t>Emne</a:t>
                      </a:r>
                    </a:p>
                  </a:txBody>
                  <a:tcPr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Forberedelse/beslutning/ orientering</a:t>
                      </a:r>
                    </a:p>
                  </a:txBody>
                  <a:tcPr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Anslået tid</a:t>
                      </a:r>
                    </a:p>
                  </a:txBody>
                  <a:tcPr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Referat</a:t>
                      </a:r>
                    </a:p>
                  </a:txBody>
                  <a:tcPr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Ansvarlig</a:t>
                      </a:r>
                    </a:p>
                  </a:txBody>
                  <a:tcPr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Deadline </a:t>
                      </a:r>
                    </a:p>
                  </a:txBody>
                  <a:tcPr>
                    <a:solidFill>
                      <a:schemeClr val="bg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2685770"/>
                  </a:ext>
                </a:extLst>
              </a:tr>
              <a:tr h="723932">
                <a:tc>
                  <a:txBody>
                    <a:bodyPr/>
                    <a:lstStyle/>
                    <a:p>
                      <a:r>
                        <a:rPr lang="da-DK" sz="1200" dirty="0"/>
                        <a:t>Rally konkurrence, skal der laves et budget</a:t>
                      </a: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Forberedelse</a:t>
                      </a: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10 min</a:t>
                      </a: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Der forventes minimum 15 deltagere, plus lidt i åben klasse – estimeret 2.200 i indtægt. Randi kan anvende dette + eventuelle sponsorater osv.</a:t>
                      </a: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>
                          <a:latin typeface="+mn-lt"/>
                        </a:rPr>
                        <a:t>Margit</a:t>
                      </a: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200" dirty="0">
                        <a:latin typeface="+mn-lt"/>
                      </a:endParaRP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0974539"/>
                  </a:ext>
                </a:extLst>
              </a:tr>
              <a:tr h="757533">
                <a:tc>
                  <a:txBody>
                    <a:bodyPr/>
                    <a:lstStyle/>
                    <a:p>
                      <a:r>
                        <a:rPr lang="da-DK" sz="1200" dirty="0"/>
                        <a:t>Udkast til brochure, Birthe er kommet med forslag, er vedhæftet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Orientering/beslutning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10 min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Brochure fastholdes og justeres en smule i opsætning.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100" dirty="0"/>
                        <a:t>Birthe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100" dirty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7877190"/>
                  </a:ext>
                </a:extLst>
              </a:tr>
              <a:tr h="723932">
                <a:tc>
                  <a:txBody>
                    <a:bodyPr/>
                    <a:lstStyle/>
                    <a:p>
                      <a:r>
                        <a:rPr lang="da-DK" sz="1200" dirty="0"/>
                        <a:t>Fællesmøde med trænerne</a:t>
                      </a:r>
                    </a:p>
                    <a:p>
                      <a:r>
                        <a:rPr lang="da-DK" sz="1200" dirty="0"/>
                        <a:t>Forslag til dagsorden</a:t>
                      </a:r>
                    </a:p>
                    <a:p>
                      <a:endParaRPr lang="da-DK" sz="1200" dirty="0"/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Forberedelse/beslutning</a:t>
                      </a: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15 min</a:t>
                      </a: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Input til dagsorden til Jeanne</a:t>
                      </a: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100" dirty="0"/>
                        <a:t>Jeanne og Randi</a:t>
                      </a: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100" dirty="0"/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9828686"/>
                  </a:ext>
                </a:extLst>
              </a:tr>
              <a:tr h="723932">
                <a:tc>
                  <a:txBody>
                    <a:bodyPr/>
                    <a:lstStyle/>
                    <a:p>
                      <a:r>
                        <a:rPr lang="da-DK" sz="1200" dirty="0"/>
                        <a:t>Visitkort til foreningernes dag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Orientering/beslutning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10 min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Dækkes af brochure – visitkort udgår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100" dirty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100" dirty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7925487"/>
                  </a:ext>
                </a:extLst>
              </a:tr>
              <a:tr h="723932">
                <a:tc>
                  <a:txBody>
                    <a:bodyPr/>
                    <a:lstStyle/>
                    <a:p>
                      <a:r>
                        <a:rPr lang="da-DK" sz="1200" dirty="0">
                          <a:latin typeface="+mn-lt"/>
                        </a:rPr>
                        <a:t>Deling af mødereferater</a:t>
                      </a: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>
                          <a:latin typeface="+mn-lt"/>
                        </a:rPr>
                        <a:t>Beslutning</a:t>
                      </a: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>
                          <a:latin typeface="+mn-lt"/>
                        </a:rPr>
                        <a:t>10 min</a:t>
                      </a: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>
                          <a:latin typeface="+mn-lt"/>
                        </a:rPr>
                        <a:t>Ønske fra trænere at referater deles. Referater deles på hjemmeside. Fortrolige/personfølsomme informationer deles ikke.</a:t>
                      </a: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>
                          <a:latin typeface="+mn-lt"/>
                        </a:rPr>
                        <a:t>Gerner</a:t>
                      </a: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200" dirty="0">
                        <a:latin typeface="+mn-lt"/>
                      </a:endParaRP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9982442"/>
                  </a:ext>
                </a:extLst>
              </a:tr>
              <a:tr h="723932">
                <a:tc>
                  <a:txBody>
                    <a:bodyPr/>
                    <a:lstStyle/>
                    <a:p>
                      <a:r>
                        <a:rPr lang="da-DK" sz="1200" dirty="0"/>
                        <a:t>Efteruddannelse for lokalforeningsinstruktør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Orientering/beslutning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10 min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Bringes med til fællesmøde med trænere som drøftelse af mulighed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100" dirty="0"/>
                        <a:t>Jeanne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200" dirty="0">
                        <a:latin typeface="+mn-lt"/>
                      </a:endParaRP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2501145"/>
                  </a:ext>
                </a:extLst>
              </a:tr>
              <a:tr h="723932">
                <a:tc>
                  <a:txBody>
                    <a:bodyPr/>
                    <a:lstStyle/>
                    <a:p>
                      <a:endParaRPr lang="da-DK" sz="1200" dirty="0">
                        <a:latin typeface="+mn-lt"/>
                      </a:endParaRPr>
                    </a:p>
                    <a:p>
                      <a:r>
                        <a:rPr lang="da-DK" sz="1200" dirty="0">
                          <a:latin typeface="+mn-lt"/>
                        </a:rPr>
                        <a:t>Tøj til trænerne, hvor langt er vi kommet</a:t>
                      </a: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>
                          <a:latin typeface="+mn-lt"/>
                        </a:rPr>
                        <a:t>Orientering</a:t>
                      </a: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>
                          <a:latin typeface="+mn-lt"/>
                        </a:rPr>
                        <a:t>10 min</a:t>
                      </a: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>
                          <a:latin typeface="+mn-lt"/>
                        </a:rPr>
                        <a:t>Den tidligere beslutning fastholdes (375 </a:t>
                      </a:r>
                      <a:r>
                        <a:rPr lang="da-DK" sz="1200" dirty="0" err="1">
                          <a:latin typeface="+mn-lt"/>
                        </a:rPr>
                        <a:t>kr</a:t>
                      </a:r>
                      <a:r>
                        <a:rPr lang="da-DK" sz="1200" dirty="0">
                          <a:latin typeface="+mn-lt"/>
                        </a:rPr>
                        <a:t> pr træner) – afdækning af 3 valgmuligheder genoptages</a:t>
                      </a: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>
                          <a:latin typeface="+mn-lt"/>
                        </a:rPr>
                        <a:t>Birthe</a:t>
                      </a: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200" dirty="0">
                        <a:latin typeface="+mn-lt"/>
                      </a:endParaRP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09998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104072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A07EDB-FC21-FAF0-4422-DE4C9496DB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B2A31C4C-579A-4949-9D67-468239C574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1066E4D-1691-9E41-8A07-CA7CFF46E6E6}" type="slidenum">
              <a:rPr lang="en-GB" smtClean="0"/>
              <a:pPr/>
              <a:t>4</a:t>
            </a:fld>
            <a:endParaRPr lang="en-GB" dirty="0"/>
          </a:p>
        </p:txBody>
      </p:sp>
      <p:graphicFrame>
        <p:nvGraphicFramePr>
          <p:cNvPr id="6" name="Pladsholder til indhold 4">
            <a:extLst>
              <a:ext uri="{FF2B5EF4-FFF2-40B4-BE49-F238E27FC236}">
                <a16:creationId xmlns:a16="http://schemas.microsoft.com/office/drawing/2014/main" id="{3597E7F5-8223-38B3-3270-C9D07DBFB96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3874845"/>
              </p:ext>
            </p:extLst>
          </p:nvPr>
        </p:nvGraphicFramePr>
        <p:xfrm>
          <a:off x="778560" y="140677"/>
          <a:ext cx="10515601" cy="7301038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3309730">
                  <a:extLst>
                    <a:ext uri="{9D8B030D-6E8A-4147-A177-3AD203B41FA5}">
                      <a16:colId xmlns:a16="http://schemas.microsoft.com/office/drawing/2014/main" val="2867405064"/>
                    </a:ext>
                  </a:extLst>
                </a:gridCol>
                <a:gridCol w="1166192">
                  <a:extLst>
                    <a:ext uri="{9D8B030D-6E8A-4147-A177-3AD203B41FA5}">
                      <a16:colId xmlns:a16="http://schemas.microsoft.com/office/drawing/2014/main" val="1909667729"/>
                    </a:ext>
                  </a:extLst>
                </a:gridCol>
                <a:gridCol w="963438">
                  <a:extLst>
                    <a:ext uri="{9D8B030D-6E8A-4147-A177-3AD203B41FA5}">
                      <a16:colId xmlns:a16="http://schemas.microsoft.com/office/drawing/2014/main" val="3983769350"/>
                    </a:ext>
                  </a:extLst>
                </a:gridCol>
                <a:gridCol w="3179298">
                  <a:extLst>
                    <a:ext uri="{9D8B030D-6E8A-4147-A177-3AD203B41FA5}">
                      <a16:colId xmlns:a16="http://schemas.microsoft.com/office/drawing/2014/main" val="3855851844"/>
                    </a:ext>
                  </a:extLst>
                </a:gridCol>
                <a:gridCol w="1025612">
                  <a:extLst>
                    <a:ext uri="{9D8B030D-6E8A-4147-A177-3AD203B41FA5}">
                      <a16:colId xmlns:a16="http://schemas.microsoft.com/office/drawing/2014/main" val="141893826"/>
                    </a:ext>
                  </a:extLst>
                </a:gridCol>
                <a:gridCol w="871331">
                  <a:extLst>
                    <a:ext uri="{9D8B030D-6E8A-4147-A177-3AD203B41FA5}">
                      <a16:colId xmlns:a16="http://schemas.microsoft.com/office/drawing/2014/main" val="1545841543"/>
                    </a:ext>
                  </a:extLst>
                </a:gridCol>
              </a:tblGrid>
              <a:tr h="755298">
                <a:tc>
                  <a:txBody>
                    <a:bodyPr/>
                    <a:lstStyle/>
                    <a:p>
                      <a:r>
                        <a:rPr lang="da-DK" sz="1200" dirty="0"/>
                        <a:t>Emne</a:t>
                      </a:r>
                    </a:p>
                  </a:txBody>
                  <a:tcPr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Forberedelse/beslutning/ orientering</a:t>
                      </a:r>
                    </a:p>
                  </a:txBody>
                  <a:tcPr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Anslået tid</a:t>
                      </a:r>
                    </a:p>
                  </a:txBody>
                  <a:tcPr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Referat</a:t>
                      </a:r>
                    </a:p>
                  </a:txBody>
                  <a:tcPr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Ansvarlig</a:t>
                      </a:r>
                    </a:p>
                  </a:txBody>
                  <a:tcPr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Deadline </a:t>
                      </a:r>
                    </a:p>
                  </a:txBody>
                  <a:tcPr>
                    <a:solidFill>
                      <a:schemeClr val="bg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2685770"/>
                  </a:ext>
                </a:extLst>
              </a:tr>
              <a:tr h="723932">
                <a:tc>
                  <a:txBody>
                    <a:bodyPr/>
                    <a:lstStyle/>
                    <a:p>
                      <a:r>
                        <a:rPr lang="da-DK" sz="1200" i="0" dirty="0">
                          <a:latin typeface="+mn-lt"/>
                        </a:rPr>
                        <a:t>Ansøgning om plads til 40 fods container</a:t>
                      </a: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>
                          <a:latin typeface="+mn-lt"/>
                        </a:rPr>
                        <a:t>Beslutning </a:t>
                      </a: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>
                          <a:latin typeface="+mn-lt"/>
                        </a:rPr>
                        <a:t>10 min</a:t>
                      </a: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Margit ringer og afsøger kontakt til kommunen og videre proces.</a:t>
                      </a: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>
                          <a:latin typeface="+mn-lt"/>
                        </a:rPr>
                        <a:t>Margit</a:t>
                      </a: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200" dirty="0">
                        <a:latin typeface="+mn-lt"/>
                      </a:endParaRP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0974539"/>
                  </a:ext>
                </a:extLst>
              </a:tr>
              <a:tr h="757533">
                <a:tc>
                  <a:txBody>
                    <a:bodyPr/>
                    <a:lstStyle/>
                    <a:p>
                      <a:r>
                        <a:rPr lang="da-DK" sz="1200" dirty="0">
                          <a:latin typeface="+mn-lt"/>
                        </a:rPr>
                        <a:t>Hvalpehold, Kan vi håndtere flere </a:t>
                      </a:r>
                      <a:r>
                        <a:rPr lang="da-DK" sz="1200" dirty="0" err="1">
                          <a:latin typeface="+mn-lt"/>
                        </a:rPr>
                        <a:t>unghunde</a:t>
                      </a:r>
                      <a:r>
                        <a:rPr lang="da-DK" sz="1200" dirty="0">
                          <a:latin typeface="+mn-lt"/>
                        </a:rPr>
                        <a:t>.</a:t>
                      </a:r>
                    </a:p>
                    <a:p>
                      <a:r>
                        <a:rPr lang="da-DK" sz="1200" dirty="0">
                          <a:latin typeface="+mn-lt"/>
                        </a:rPr>
                        <a:t>Opstart omkring foreningernes dag</a:t>
                      </a:r>
                    </a:p>
                    <a:p>
                      <a:pPr rtl="0"/>
                      <a:endParaRPr lang="da-DK" sz="1200" b="0" i="0" u="none" strike="noStrike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Orientering/beslutning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20 min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Der er ønske om oprettelse af et hvalpehold i foråret. Ib og </a:t>
                      </a:r>
                      <a:r>
                        <a:rPr lang="da-DK" sz="1200"/>
                        <a:t>Morten spørges</a:t>
                      </a:r>
                      <a:endParaRPr lang="da-DK" sz="1200" dirty="0"/>
                    </a:p>
                    <a:p>
                      <a:r>
                        <a:rPr lang="da-DK" sz="1200" dirty="0"/>
                        <a:t>Forespørgsel gentages i efteråret. </a:t>
                      </a:r>
                    </a:p>
                    <a:p>
                      <a:r>
                        <a:rPr lang="da-DK" sz="1200" dirty="0"/>
                        <a:t>Der tages forbehold for at holdet ikke oprettes ved for få tilmeldte (mindre end 5)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100" dirty="0"/>
                        <a:t>Margit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100" dirty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7877190"/>
                  </a:ext>
                </a:extLst>
              </a:tr>
              <a:tr h="723932">
                <a:tc>
                  <a:txBody>
                    <a:bodyPr/>
                    <a:lstStyle/>
                    <a:p>
                      <a:pPr algn="ctr"/>
                      <a:endParaRPr lang="da-DK" sz="1200" dirty="0"/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200" dirty="0"/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200" dirty="0"/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200" dirty="0"/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100" dirty="0"/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100" dirty="0"/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9828686"/>
                  </a:ext>
                </a:extLst>
              </a:tr>
              <a:tr h="723932">
                <a:tc>
                  <a:txBody>
                    <a:bodyPr/>
                    <a:lstStyle/>
                    <a:p>
                      <a:r>
                        <a:rPr lang="da-DK" sz="1200" i="0" dirty="0" err="1">
                          <a:latin typeface="+mn-lt"/>
                        </a:rPr>
                        <a:t>evt</a:t>
                      </a:r>
                      <a:endParaRPr lang="da-DK" sz="1200" i="0" dirty="0">
                        <a:latin typeface="+mn-lt"/>
                      </a:endParaRP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200" dirty="0">
                        <a:latin typeface="+mn-lt"/>
                      </a:endParaRP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200" dirty="0">
                        <a:latin typeface="+mn-lt"/>
                      </a:endParaRP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>
                          <a:latin typeface="+mn-lt"/>
                        </a:rPr>
                        <a:t>Overvejelse om gennemskrivning af ”Spilleregler” for hvordan man agerer på træningspladsen, forsikringsforhold, vaccinationer, afbud, etc. Optages som punkt på næste bestyrelsesmøde. </a:t>
                      </a:r>
                    </a:p>
                    <a:p>
                      <a:endParaRPr lang="da-DK" sz="1200" dirty="0">
                        <a:latin typeface="+mn-lt"/>
                      </a:endParaRPr>
                    </a:p>
                    <a:p>
                      <a:r>
                        <a:rPr lang="da-DK" sz="1200" dirty="0">
                          <a:latin typeface="+mn-lt"/>
                        </a:rPr>
                        <a:t>Overvejelse af kontrol af vaccination og forsikring. Margit følger op på hvad man accepterer med kryds ved indmeldelse </a:t>
                      </a:r>
                      <a:r>
                        <a:rPr lang="da-DK" sz="1200">
                          <a:latin typeface="+mn-lt"/>
                        </a:rPr>
                        <a:t>i klub </a:t>
                      </a:r>
                      <a:endParaRPr lang="da-DK" sz="1200" dirty="0">
                        <a:latin typeface="+mn-lt"/>
                      </a:endParaRP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200" dirty="0">
                        <a:latin typeface="+mn-lt"/>
                      </a:endParaRP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100" dirty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7925487"/>
                  </a:ext>
                </a:extLst>
              </a:tr>
              <a:tr h="723932">
                <a:tc>
                  <a:txBody>
                    <a:bodyPr/>
                    <a:lstStyle/>
                    <a:p>
                      <a:endParaRPr lang="da-DK" sz="1200" dirty="0">
                        <a:latin typeface="+mn-lt"/>
                      </a:endParaRP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200" dirty="0">
                        <a:latin typeface="+mn-lt"/>
                      </a:endParaRP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200" dirty="0">
                        <a:latin typeface="+mn-lt"/>
                      </a:endParaRP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200" dirty="0">
                        <a:latin typeface="+mn-lt"/>
                      </a:endParaRP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200" dirty="0">
                        <a:latin typeface="+mn-lt"/>
                      </a:endParaRP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200" dirty="0">
                        <a:latin typeface="+mn-lt"/>
                      </a:endParaRP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9982442"/>
                  </a:ext>
                </a:extLst>
              </a:tr>
              <a:tr h="723932">
                <a:tc>
                  <a:txBody>
                    <a:bodyPr/>
                    <a:lstStyle/>
                    <a:p>
                      <a:endParaRPr lang="da-DK" sz="1200" dirty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200" dirty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200" dirty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200" dirty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100" dirty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200" dirty="0">
                        <a:latin typeface="+mn-lt"/>
                      </a:endParaRP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2501145"/>
                  </a:ext>
                </a:extLst>
              </a:tr>
              <a:tr h="723932">
                <a:tc>
                  <a:txBody>
                    <a:bodyPr/>
                    <a:lstStyle/>
                    <a:p>
                      <a:endParaRPr lang="da-DK" sz="1200" i="0" dirty="0">
                        <a:latin typeface="+mn-lt"/>
                      </a:endParaRP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200" dirty="0">
                        <a:latin typeface="+mn-lt"/>
                      </a:endParaRP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200" dirty="0">
                        <a:latin typeface="+mn-lt"/>
                      </a:endParaRP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200" dirty="0">
                        <a:latin typeface="+mn-lt"/>
                      </a:endParaRP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200" dirty="0">
                        <a:latin typeface="+mn-lt"/>
                      </a:endParaRP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200" dirty="0">
                        <a:latin typeface="+mn-lt"/>
                      </a:endParaRPr>
                    </a:p>
                  </a:txBody>
                  <a:tcP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09998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59748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6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1sOrqNQXG5s3cVlwCV8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FlnwwQRumgqqOTdcsNH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ront pages">
  <a:themeElements>
    <a:clrScheme name="Salling FINAL FAT DET SÅ!!!">
      <a:dk1>
        <a:srgbClr val="414041"/>
      </a:dk1>
      <a:lt1>
        <a:srgbClr val="FFFFFF"/>
      </a:lt1>
      <a:dk2>
        <a:srgbClr val="7DB6D1"/>
      </a:dk2>
      <a:lt2>
        <a:srgbClr val="98CBCC"/>
      </a:lt2>
      <a:accent1>
        <a:srgbClr val="E09B93"/>
      </a:accent1>
      <a:accent2>
        <a:srgbClr val="FFE3AF"/>
      </a:accent2>
      <a:accent3>
        <a:srgbClr val="004961"/>
      </a:accent3>
      <a:accent4>
        <a:srgbClr val="CACCD5"/>
      </a:accent4>
      <a:accent5>
        <a:srgbClr val="BB8A44"/>
      </a:accent5>
      <a:accent6>
        <a:srgbClr val="D36360"/>
      </a:accent6>
      <a:hlink>
        <a:srgbClr val="752348"/>
      </a:hlink>
      <a:folHlink>
        <a:srgbClr val="75234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smtClean="0">
            <a:solidFill>
              <a:schemeClr val="accent3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alling Group Template JUN2018.pptx" id="{7F40C2BD-8858-4017-88F7-4064E925A2D1}" vid="{E508FAAF-CABA-4F2F-937E-246ED192CC13}"/>
    </a:ext>
  </a:extLst>
</a:theme>
</file>

<file path=ppt/theme/theme2.xml><?xml version="1.0" encoding="utf-8"?>
<a:theme xmlns:a="http://schemas.openxmlformats.org/drawingml/2006/main" name="Sub pages">
  <a:themeElements>
    <a:clrScheme name="Salling FINAL FAT DET SÅ!!!">
      <a:dk1>
        <a:srgbClr val="414041"/>
      </a:dk1>
      <a:lt1>
        <a:srgbClr val="FFFFFF"/>
      </a:lt1>
      <a:dk2>
        <a:srgbClr val="7DB6D1"/>
      </a:dk2>
      <a:lt2>
        <a:srgbClr val="98CBCC"/>
      </a:lt2>
      <a:accent1>
        <a:srgbClr val="E09B93"/>
      </a:accent1>
      <a:accent2>
        <a:srgbClr val="FFE3AF"/>
      </a:accent2>
      <a:accent3>
        <a:srgbClr val="004961"/>
      </a:accent3>
      <a:accent4>
        <a:srgbClr val="CACCD5"/>
      </a:accent4>
      <a:accent5>
        <a:srgbClr val="BB8A44"/>
      </a:accent5>
      <a:accent6>
        <a:srgbClr val="D36360"/>
      </a:accent6>
      <a:hlink>
        <a:srgbClr val="752348"/>
      </a:hlink>
      <a:folHlink>
        <a:srgbClr val="75234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alling Group Template JUN2018.pptx" id="{7F40C2BD-8858-4017-88F7-4064E925A2D1}" vid="{114BE291-6BA1-4B12-A959-99640CBC35FF}"/>
    </a:ext>
  </a:extLst>
</a:theme>
</file>

<file path=ppt/theme/theme3.xml><?xml version="1.0" encoding="utf-8"?>
<a:theme xmlns:a="http://schemas.openxmlformats.org/drawingml/2006/main" name="Sub page with full picture ">
  <a:themeElements>
    <a:clrScheme name="Salling FINAL FAT DET SÅ!!!">
      <a:dk1>
        <a:srgbClr val="414041"/>
      </a:dk1>
      <a:lt1>
        <a:srgbClr val="FFFFFF"/>
      </a:lt1>
      <a:dk2>
        <a:srgbClr val="7DB6D1"/>
      </a:dk2>
      <a:lt2>
        <a:srgbClr val="98CBCC"/>
      </a:lt2>
      <a:accent1>
        <a:srgbClr val="E09B93"/>
      </a:accent1>
      <a:accent2>
        <a:srgbClr val="FFE3AF"/>
      </a:accent2>
      <a:accent3>
        <a:srgbClr val="004961"/>
      </a:accent3>
      <a:accent4>
        <a:srgbClr val="CACCD5"/>
      </a:accent4>
      <a:accent5>
        <a:srgbClr val="BB8A44"/>
      </a:accent5>
      <a:accent6>
        <a:srgbClr val="D36360"/>
      </a:accent6>
      <a:hlink>
        <a:srgbClr val="752348"/>
      </a:hlink>
      <a:folHlink>
        <a:srgbClr val="75234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noProof="0" dirty="0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alling Group Template JUN2018.pptx" id="{7F40C2BD-8858-4017-88F7-4064E925A2D1}" vid="{D06D57EF-6F53-4B0A-8A43-583966429264}"/>
    </a:ext>
  </a:extLst>
</a:theme>
</file>

<file path=ppt/theme/theme4.xml><?xml version="1.0" encoding="utf-8"?>
<a:theme xmlns:a="http://schemas.openxmlformats.org/drawingml/2006/main" name="Breaker / New section">
  <a:themeElements>
    <a:clrScheme name="Salling FINAL FAT DET SÅ!!!">
      <a:dk1>
        <a:srgbClr val="414041"/>
      </a:dk1>
      <a:lt1>
        <a:srgbClr val="FFFFFF"/>
      </a:lt1>
      <a:dk2>
        <a:srgbClr val="7DB6D1"/>
      </a:dk2>
      <a:lt2>
        <a:srgbClr val="98CBCC"/>
      </a:lt2>
      <a:accent1>
        <a:srgbClr val="E09B93"/>
      </a:accent1>
      <a:accent2>
        <a:srgbClr val="FFE3AF"/>
      </a:accent2>
      <a:accent3>
        <a:srgbClr val="004961"/>
      </a:accent3>
      <a:accent4>
        <a:srgbClr val="CACCD5"/>
      </a:accent4>
      <a:accent5>
        <a:srgbClr val="BB8A44"/>
      </a:accent5>
      <a:accent6>
        <a:srgbClr val="D36360"/>
      </a:accent6>
      <a:hlink>
        <a:srgbClr val="752348"/>
      </a:hlink>
      <a:folHlink>
        <a:srgbClr val="75234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alling Group Template JUN2018.pptx" id="{7F40C2BD-8858-4017-88F7-4064E925A2D1}" vid="{33E827D3-6582-4DF2-B080-0A398FF50718}"/>
    </a:ext>
  </a:extLst>
</a:theme>
</file>

<file path=ppt/theme/theme5.xml><?xml version="1.0" encoding="utf-8"?>
<a:theme xmlns:a="http://schemas.openxmlformats.org/drawingml/2006/main" name="Agenda slides">
  <a:themeElements>
    <a:clrScheme name="Salling FINAL FAT DET SÅ!!!">
      <a:dk1>
        <a:srgbClr val="414041"/>
      </a:dk1>
      <a:lt1>
        <a:srgbClr val="FFFFFF"/>
      </a:lt1>
      <a:dk2>
        <a:srgbClr val="7DB6D1"/>
      </a:dk2>
      <a:lt2>
        <a:srgbClr val="98CBCC"/>
      </a:lt2>
      <a:accent1>
        <a:srgbClr val="E09B93"/>
      </a:accent1>
      <a:accent2>
        <a:srgbClr val="FFE3AF"/>
      </a:accent2>
      <a:accent3>
        <a:srgbClr val="004961"/>
      </a:accent3>
      <a:accent4>
        <a:srgbClr val="CACCD5"/>
      </a:accent4>
      <a:accent5>
        <a:srgbClr val="BB8A44"/>
      </a:accent5>
      <a:accent6>
        <a:srgbClr val="D36360"/>
      </a:accent6>
      <a:hlink>
        <a:srgbClr val="752348"/>
      </a:hlink>
      <a:folHlink>
        <a:srgbClr val="75234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noProof="0" dirty="0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alling Group Template JUN2018.pptx" id="{7F40C2BD-8858-4017-88F7-4064E925A2D1}" vid="{91C602D3-CDC5-443C-A61F-C4938EFDF25B}"/>
    </a:ext>
  </a:extLst>
</a:theme>
</file>

<file path=ppt/theme/theme6.xml><?xml version="1.0" encoding="utf-8"?>
<a:theme xmlns:a="http://schemas.openxmlformats.org/drawingml/2006/main" name="End slides">
  <a:themeElements>
    <a:clrScheme name="Salling FINAL FAT DET SÅ!!!">
      <a:dk1>
        <a:srgbClr val="414041"/>
      </a:dk1>
      <a:lt1>
        <a:srgbClr val="FFFFFF"/>
      </a:lt1>
      <a:dk2>
        <a:srgbClr val="7DB6D1"/>
      </a:dk2>
      <a:lt2>
        <a:srgbClr val="98CBCC"/>
      </a:lt2>
      <a:accent1>
        <a:srgbClr val="E09B93"/>
      </a:accent1>
      <a:accent2>
        <a:srgbClr val="FFE3AF"/>
      </a:accent2>
      <a:accent3>
        <a:srgbClr val="004961"/>
      </a:accent3>
      <a:accent4>
        <a:srgbClr val="CACCD5"/>
      </a:accent4>
      <a:accent5>
        <a:srgbClr val="BB8A44"/>
      </a:accent5>
      <a:accent6>
        <a:srgbClr val="D36360"/>
      </a:accent6>
      <a:hlink>
        <a:srgbClr val="752348"/>
      </a:hlink>
      <a:folHlink>
        <a:srgbClr val="75234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noProof="0" dirty="0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alling Group Template JUN2018.pptx" id="{7F40C2BD-8858-4017-88F7-4064E925A2D1}" vid="{C8A9E05C-916B-4115-B0F3-3C12D64EF554}"/>
    </a:ext>
  </a:extLst>
</a:theme>
</file>

<file path=ppt/theme/theme7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667</Words>
  <Application>Microsoft Office PowerPoint</Application>
  <PresentationFormat>Widescreen</PresentationFormat>
  <Paragraphs>126</Paragraphs>
  <Slides>4</Slides>
  <Notes>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3</vt:i4>
      </vt:variant>
      <vt:variant>
        <vt:lpstr>Tema</vt:lpstr>
      </vt:variant>
      <vt:variant>
        <vt:i4>6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4</vt:i4>
      </vt:variant>
    </vt:vector>
  </HeadingPairs>
  <TitlesOfParts>
    <vt:vector size="14" baseType="lpstr">
      <vt:lpstr>Arial</vt:lpstr>
      <vt:lpstr>Arial Black</vt:lpstr>
      <vt:lpstr>Calibri</vt:lpstr>
      <vt:lpstr>Front pages</vt:lpstr>
      <vt:lpstr>Sub pages</vt:lpstr>
      <vt:lpstr>Sub page with full picture </vt:lpstr>
      <vt:lpstr>Breaker / New section</vt:lpstr>
      <vt:lpstr>Agenda slides</vt:lpstr>
      <vt:lpstr>End slides</vt:lpstr>
      <vt:lpstr>think-cell Slide</vt:lpstr>
      <vt:lpstr>28.01.2025</vt:lpstr>
      <vt:lpstr>PowerPoint-præsentation</vt:lpstr>
      <vt:lpstr>PowerPoint-præsentation</vt:lpstr>
      <vt:lpstr>PowerPoint-præ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Anja Holm</dc:creator>
  <cp:lastModifiedBy>Jeanne Mercer</cp:lastModifiedBy>
  <cp:revision>58</cp:revision>
  <dcterms:created xsi:type="dcterms:W3CDTF">2019-07-09T06:46:37Z</dcterms:created>
  <dcterms:modified xsi:type="dcterms:W3CDTF">2025-01-29T18:04:48Z</dcterms:modified>
</cp:coreProperties>
</file>